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media/image10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57" r:id="rId3"/>
    <p:sldId id="281" r:id="rId5"/>
    <p:sldId id="283" r:id="rId6"/>
    <p:sldId id="293" r:id="rId7"/>
    <p:sldId id="288" r:id="rId8"/>
    <p:sldId id="292" r:id="rId9"/>
    <p:sldId id="261" r:id="rId10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PS" initials="W" lastIdx="1" clrIdx="0"/>
  <p:cmAuthor id="2" name="作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9CE56"/>
    <a:srgbClr val="59B4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1" d="100"/>
          <a:sy n="71" d="100"/>
        </p:scale>
        <p:origin x="61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5" Type="http://schemas.openxmlformats.org/officeDocument/2006/relationships/tags" Target="tags/tag29.xml"/><Relationship Id="rId14" Type="http://schemas.openxmlformats.org/officeDocument/2006/relationships/commentAuthors" Target="commentAuthors.xml"/><Relationship Id="rId13" Type="http://schemas.openxmlformats.org/officeDocument/2006/relationships/tableStyles" Target="tableStyles.xml"/><Relationship Id="rId12" Type="http://schemas.openxmlformats.org/officeDocument/2006/relationships/viewProps" Target="viewProps.xml"/><Relationship Id="rId11" Type="http://schemas.openxmlformats.org/officeDocument/2006/relationships/presProps" Target="presProps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0AB57C-8A66-4E1D-A357-6449AB425D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A837EA-E157-4FA4-AB93-BE6F622F273C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isḷidé"/>
          <p:cNvGrpSpPr/>
          <p:nvPr userDrawn="1"/>
        </p:nvGrpSpPr>
        <p:grpSpPr>
          <a:xfrm flipH="1">
            <a:off x="1140660" y="4191481"/>
            <a:ext cx="2807116" cy="1456619"/>
            <a:chOff x="107951" y="2128838"/>
            <a:chExt cx="6645275" cy="399415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56" name="íŝḻïḓè"/>
            <p:cNvSpPr/>
            <p:nvPr/>
          </p:nvSpPr>
          <p:spPr bwMode="auto">
            <a:xfrm>
              <a:off x="1074738" y="3060700"/>
              <a:ext cx="844550" cy="3062288"/>
            </a:xfrm>
            <a:custGeom>
              <a:avLst/>
              <a:gdLst>
                <a:gd name="T0" fmla="*/ 0 w 532"/>
                <a:gd name="T1" fmla="*/ 355 h 1929"/>
                <a:gd name="T2" fmla="*/ 0 w 532"/>
                <a:gd name="T3" fmla="*/ 1929 h 1929"/>
                <a:gd name="T4" fmla="*/ 532 w 532"/>
                <a:gd name="T5" fmla="*/ 1929 h 1929"/>
                <a:gd name="T6" fmla="*/ 532 w 532"/>
                <a:gd name="T7" fmla="*/ 0 h 1929"/>
                <a:gd name="T8" fmla="*/ 0 w 532"/>
                <a:gd name="T9" fmla="*/ 355 h 1929"/>
                <a:gd name="T10" fmla="*/ 69 w 532"/>
                <a:gd name="T11" fmla="*/ 1502 h 1929"/>
                <a:gd name="T12" fmla="*/ 462 w 532"/>
                <a:gd name="T13" fmla="*/ 1502 h 1929"/>
                <a:gd name="T14" fmla="*/ 462 w 532"/>
                <a:gd name="T15" fmla="*/ 1543 h 1929"/>
                <a:gd name="T16" fmla="*/ 69 w 532"/>
                <a:gd name="T17" fmla="*/ 1543 h 1929"/>
                <a:gd name="T18" fmla="*/ 69 w 532"/>
                <a:gd name="T19" fmla="*/ 1502 h 1929"/>
                <a:gd name="T20" fmla="*/ 69 w 532"/>
                <a:gd name="T21" fmla="*/ 1387 h 1929"/>
                <a:gd name="T22" fmla="*/ 462 w 532"/>
                <a:gd name="T23" fmla="*/ 1387 h 1929"/>
                <a:gd name="T24" fmla="*/ 462 w 532"/>
                <a:gd name="T25" fmla="*/ 1428 h 1929"/>
                <a:gd name="T26" fmla="*/ 69 w 532"/>
                <a:gd name="T27" fmla="*/ 1428 h 1929"/>
                <a:gd name="T28" fmla="*/ 69 w 532"/>
                <a:gd name="T29" fmla="*/ 1387 h 1929"/>
                <a:gd name="T30" fmla="*/ 69 w 532"/>
                <a:gd name="T31" fmla="*/ 1272 h 1929"/>
                <a:gd name="T32" fmla="*/ 462 w 532"/>
                <a:gd name="T33" fmla="*/ 1272 h 1929"/>
                <a:gd name="T34" fmla="*/ 462 w 532"/>
                <a:gd name="T35" fmla="*/ 1315 h 1929"/>
                <a:gd name="T36" fmla="*/ 69 w 532"/>
                <a:gd name="T37" fmla="*/ 1315 h 1929"/>
                <a:gd name="T38" fmla="*/ 69 w 532"/>
                <a:gd name="T39" fmla="*/ 1272 h 1929"/>
                <a:gd name="T40" fmla="*/ 69 w 532"/>
                <a:gd name="T41" fmla="*/ 1157 h 1929"/>
                <a:gd name="T42" fmla="*/ 462 w 532"/>
                <a:gd name="T43" fmla="*/ 1157 h 1929"/>
                <a:gd name="T44" fmla="*/ 462 w 532"/>
                <a:gd name="T45" fmla="*/ 1200 h 1929"/>
                <a:gd name="T46" fmla="*/ 69 w 532"/>
                <a:gd name="T47" fmla="*/ 1200 h 1929"/>
                <a:gd name="T48" fmla="*/ 69 w 532"/>
                <a:gd name="T49" fmla="*/ 1157 h 1929"/>
                <a:gd name="T50" fmla="*/ 69 w 532"/>
                <a:gd name="T51" fmla="*/ 1044 h 1929"/>
                <a:gd name="T52" fmla="*/ 462 w 532"/>
                <a:gd name="T53" fmla="*/ 1044 h 1929"/>
                <a:gd name="T54" fmla="*/ 462 w 532"/>
                <a:gd name="T55" fmla="*/ 1085 h 1929"/>
                <a:gd name="T56" fmla="*/ 69 w 532"/>
                <a:gd name="T57" fmla="*/ 1085 h 1929"/>
                <a:gd name="T58" fmla="*/ 69 w 532"/>
                <a:gd name="T59" fmla="*/ 1044 h 1929"/>
                <a:gd name="T60" fmla="*/ 69 w 532"/>
                <a:gd name="T61" fmla="*/ 929 h 1929"/>
                <a:gd name="T62" fmla="*/ 462 w 532"/>
                <a:gd name="T63" fmla="*/ 929 h 1929"/>
                <a:gd name="T64" fmla="*/ 462 w 532"/>
                <a:gd name="T65" fmla="*/ 969 h 1929"/>
                <a:gd name="T66" fmla="*/ 69 w 532"/>
                <a:gd name="T67" fmla="*/ 969 h 1929"/>
                <a:gd name="T68" fmla="*/ 69 w 532"/>
                <a:gd name="T69" fmla="*/ 929 h 1929"/>
                <a:gd name="T70" fmla="*/ 69 w 532"/>
                <a:gd name="T71" fmla="*/ 814 h 1929"/>
                <a:gd name="T72" fmla="*/ 462 w 532"/>
                <a:gd name="T73" fmla="*/ 814 h 1929"/>
                <a:gd name="T74" fmla="*/ 462 w 532"/>
                <a:gd name="T75" fmla="*/ 854 h 1929"/>
                <a:gd name="T76" fmla="*/ 69 w 532"/>
                <a:gd name="T77" fmla="*/ 854 h 1929"/>
                <a:gd name="T78" fmla="*/ 69 w 532"/>
                <a:gd name="T79" fmla="*/ 814 h 1929"/>
                <a:gd name="T80" fmla="*/ 69 w 532"/>
                <a:gd name="T81" fmla="*/ 698 h 1929"/>
                <a:gd name="T82" fmla="*/ 462 w 532"/>
                <a:gd name="T83" fmla="*/ 698 h 1929"/>
                <a:gd name="T84" fmla="*/ 462 w 532"/>
                <a:gd name="T85" fmla="*/ 739 h 1929"/>
                <a:gd name="T86" fmla="*/ 69 w 532"/>
                <a:gd name="T87" fmla="*/ 739 h 1929"/>
                <a:gd name="T88" fmla="*/ 69 w 532"/>
                <a:gd name="T89" fmla="*/ 698 h 1929"/>
                <a:gd name="T90" fmla="*/ 69 w 532"/>
                <a:gd name="T91" fmla="*/ 583 h 1929"/>
                <a:gd name="T92" fmla="*/ 462 w 532"/>
                <a:gd name="T93" fmla="*/ 583 h 1929"/>
                <a:gd name="T94" fmla="*/ 462 w 532"/>
                <a:gd name="T95" fmla="*/ 626 h 1929"/>
                <a:gd name="T96" fmla="*/ 69 w 532"/>
                <a:gd name="T97" fmla="*/ 626 h 1929"/>
                <a:gd name="T98" fmla="*/ 69 w 532"/>
                <a:gd name="T99" fmla="*/ 583 h 1929"/>
                <a:gd name="T100" fmla="*/ 69 w 532"/>
                <a:gd name="T101" fmla="*/ 468 h 1929"/>
                <a:gd name="T102" fmla="*/ 462 w 532"/>
                <a:gd name="T103" fmla="*/ 468 h 1929"/>
                <a:gd name="T104" fmla="*/ 462 w 532"/>
                <a:gd name="T105" fmla="*/ 511 h 1929"/>
                <a:gd name="T106" fmla="*/ 69 w 532"/>
                <a:gd name="T107" fmla="*/ 511 h 1929"/>
                <a:gd name="T108" fmla="*/ 69 w 532"/>
                <a:gd name="T109" fmla="*/ 468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2" h="1929">
                  <a:moveTo>
                    <a:pt x="0" y="355"/>
                  </a:moveTo>
                  <a:lnTo>
                    <a:pt x="0" y="1929"/>
                  </a:lnTo>
                  <a:lnTo>
                    <a:pt x="532" y="1929"/>
                  </a:lnTo>
                  <a:lnTo>
                    <a:pt x="532" y="0"/>
                  </a:lnTo>
                  <a:lnTo>
                    <a:pt x="0" y="355"/>
                  </a:lnTo>
                  <a:close/>
                  <a:moveTo>
                    <a:pt x="69" y="1502"/>
                  </a:moveTo>
                  <a:lnTo>
                    <a:pt x="462" y="1502"/>
                  </a:lnTo>
                  <a:lnTo>
                    <a:pt x="462" y="1543"/>
                  </a:lnTo>
                  <a:lnTo>
                    <a:pt x="69" y="1543"/>
                  </a:lnTo>
                  <a:lnTo>
                    <a:pt x="69" y="1502"/>
                  </a:lnTo>
                  <a:close/>
                  <a:moveTo>
                    <a:pt x="69" y="1387"/>
                  </a:moveTo>
                  <a:lnTo>
                    <a:pt x="462" y="1387"/>
                  </a:lnTo>
                  <a:lnTo>
                    <a:pt x="462" y="1428"/>
                  </a:lnTo>
                  <a:lnTo>
                    <a:pt x="69" y="1428"/>
                  </a:lnTo>
                  <a:lnTo>
                    <a:pt x="69" y="1387"/>
                  </a:lnTo>
                  <a:close/>
                  <a:moveTo>
                    <a:pt x="69" y="1272"/>
                  </a:moveTo>
                  <a:lnTo>
                    <a:pt x="462" y="1272"/>
                  </a:lnTo>
                  <a:lnTo>
                    <a:pt x="462" y="1315"/>
                  </a:lnTo>
                  <a:lnTo>
                    <a:pt x="69" y="1315"/>
                  </a:lnTo>
                  <a:lnTo>
                    <a:pt x="69" y="1272"/>
                  </a:lnTo>
                  <a:close/>
                  <a:moveTo>
                    <a:pt x="69" y="1157"/>
                  </a:moveTo>
                  <a:lnTo>
                    <a:pt x="462" y="1157"/>
                  </a:lnTo>
                  <a:lnTo>
                    <a:pt x="462" y="1200"/>
                  </a:lnTo>
                  <a:lnTo>
                    <a:pt x="69" y="1200"/>
                  </a:lnTo>
                  <a:lnTo>
                    <a:pt x="69" y="1157"/>
                  </a:lnTo>
                  <a:close/>
                  <a:moveTo>
                    <a:pt x="69" y="1044"/>
                  </a:moveTo>
                  <a:lnTo>
                    <a:pt x="462" y="1044"/>
                  </a:lnTo>
                  <a:lnTo>
                    <a:pt x="462" y="1085"/>
                  </a:lnTo>
                  <a:lnTo>
                    <a:pt x="69" y="1085"/>
                  </a:lnTo>
                  <a:lnTo>
                    <a:pt x="69" y="1044"/>
                  </a:lnTo>
                  <a:close/>
                  <a:moveTo>
                    <a:pt x="69" y="929"/>
                  </a:moveTo>
                  <a:lnTo>
                    <a:pt x="462" y="929"/>
                  </a:lnTo>
                  <a:lnTo>
                    <a:pt x="462" y="969"/>
                  </a:lnTo>
                  <a:lnTo>
                    <a:pt x="69" y="969"/>
                  </a:lnTo>
                  <a:lnTo>
                    <a:pt x="69" y="929"/>
                  </a:lnTo>
                  <a:close/>
                  <a:moveTo>
                    <a:pt x="69" y="814"/>
                  </a:moveTo>
                  <a:lnTo>
                    <a:pt x="462" y="814"/>
                  </a:lnTo>
                  <a:lnTo>
                    <a:pt x="462" y="854"/>
                  </a:lnTo>
                  <a:lnTo>
                    <a:pt x="69" y="854"/>
                  </a:lnTo>
                  <a:lnTo>
                    <a:pt x="69" y="814"/>
                  </a:lnTo>
                  <a:close/>
                  <a:moveTo>
                    <a:pt x="69" y="698"/>
                  </a:moveTo>
                  <a:lnTo>
                    <a:pt x="462" y="698"/>
                  </a:lnTo>
                  <a:lnTo>
                    <a:pt x="462" y="739"/>
                  </a:lnTo>
                  <a:lnTo>
                    <a:pt x="69" y="739"/>
                  </a:lnTo>
                  <a:lnTo>
                    <a:pt x="69" y="698"/>
                  </a:lnTo>
                  <a:close/>
                  <a:moveTo>
                    <a:pt x="69" y="583"/>
                  </a:moveTo>
                  <a:lnTo>
                    <a:pt x="462" y="583"/>
                  </a:lnTo>
                  <a:lnTo>
                    <a:pt x="462" y="626"/>
                  </a:lnTo>
                  <a:lnTo>
                    <a:pt x="69" y="626"/>
                  </a:lnTo>
                  <a:lnTo>
                    <a:pt x="69" y="583"/>
                  </a:lnTo>
                  <a:close/>
                  <a:moveTo>
                    <a:pt x="69" y="468"/>
                  </a:moveTo>
                  <a:lnTo>
                    <a:pt x="462" y="468"/>
                  </a:lnTo>
                  <a:lnTo>
                    <a:pt x="462" y="511"/>
                  </a:lnTo>
                  <a:lnTo>
                    <a:pt x="69" y="511"/>
                  </a:lnTo>
                  <a:lnTo>
                    <a:pt x="69" y="4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7" name="iŝļïďe"/>
            <p:cNvSpPr/>
            <p:nvPr/>
          </p:nvSpPr>
          <p:spPr bwMode="auto">
            <a:xfrm>
              <a:off x="107951" y="3571875"/>
              <a:ext cx="844550" cy="2551113"/>
            </a:xfrm>
            <a:custGeom>
              <a:avLst/>
              <a:gdLst>
                <a:gd name="T0" fmla="*/ 0 w 532"/>
                <a:gd name="T1" fmla="*/ 314 h 1607"/>
                <a:gd name="T2" fmla="*/ 0 w 532"/>
                <a:gd name="T3" fmla="*/ 1607 h 1607"/>
                <a:gd name="T4" fmla="*/ 532 w 532"/>
                <a:gd name="T5" fmla="*/ 1607 h 1607"/>
                <a:gd name="T6" fmla="*/ 532 w 532"/>
                <a:gd name="T7" fmla="*/ 314 h 1607"/>
                <a:gd name="T8" fmla="*/ 347 w 532"/>
                <a:gd name="T9" fmla="*/ 314 h 1607"/>
                <a:gd name="T10" fmla="*/ 347 w 532"/>
                <a:gd name="T11" fmla="*/ 192 h 1607"/>
                <a:gd name="T12" fmla="*/ 242 w 532"/>
                <a:gd name="T13" fmla="*/ 192 h 1607"/>
                <a:gd name="T14" fmla="*/ 242 w 532"/>
                <a:gd name="T15" fmla="*/ 314 h 1607"/>
                <a:gd name="T16" fmla="*/ 163 w 532"/>
                <a:gd name="T17" fmla="*/ 314 h 1607"/>
                <a:gd name="T18" fmla="*/ 163 w 532"/>
                <a:gd name="T19" fmla="*/ 0 h 1607"/>
                <a:gd name="T20" fmla="*/ 55 w 532"/>
                <a:gd name="T21" fmla="*/ 0 h 1607"/>
                <a:gd name="T22" fmla="*/ 55 w 532"/>
                <a:gd name="T23" fmla="*/ 314 h 1607"/>
                <a:gd name="T24" fmla="*/ 0 w 532"/>
                <a:gd name="T25" fmla="*/ 314 h 1607"/>
                <a:gd name="T26" fmla="*/ 335 w 532"/>
                <a:gd name="T27" fmla="*/ 1226 h 1607"/>
                <a:gd name="T28" fmla="*/ 438 w 532"/>
                <a:gd name="T29" fmla="*/ 1226 h 1607"/>
                <a:gd name="T30" fmla="*/ 438 w 532"/>
                <a:gd name="T31" fmla="*/ 1329 h 1607"/>
                <a:gd name="T32" fmla="*/ 335 w 532"/>
                <a:gd name="T33" fmla="*/ 1329 h 1607"/>
                <a:gd name="T34" fmla="*/ 335 w 532"/>
                <a:gd name="T35" fmla="*/ 1226 h 1607"/>
                <a:gd name="T36" fmla="*/ 335 w 532"/>
                <a:gd name="T37" fmla="*/ 1034 h 1607"/>
                <a:gd name="T38" fmla="*/ 438 w 532"/>
                <a:gd name="T39" fmla="*/ 1034 h 1607"/>
                <a:gd name="T40" fmla="*/ 438 w 532"/>
                <a:gd name="T41" fmla="*/ 1137 h 1607"/>
                <a:gd name="T42" fmla="*/ 335 w 532"/>
                <a:gd name="T43" fmla="*/ 1137 h 1607"/>
                <a:gd name="T44" fmla="*/ 335 w 532"/>
                <a:gd name="T45" fmla="*/ 1034 h 1607"/>
                <a:gd name="T46" fmla="*/ 335 w 532"/>
                <a:gd name="T47" fmla="*/ 842 h 1607"/>
                <a:gd name="T48" fmla="*/ 438 w 532"/>
                <a:gd name="T49" fmla="*/ 842 h 1607"/>
                <a:gd name="T50" fmla="*/ 438 w 532"/>
                <a:gd name="T51" fmla="*/ 947 h 1607"/>
                <a:gd name="T52" fmla="*/ 335 w 532"/>
                <a:gd name="T53" fmla="*/ 947 h 1607"/>
                <a:gd name="T54" fmla="*/ 335 w 532"/>
                <a:gd name="T55" fmla="*/ 842 h 1607"/>
                <a:gd name="T56" fmla="*/ 335 w 532"/>
                <a:gd name="T57" fmla="*/ 652 h 1607"/>
                <a:gd name="T58" fmla="*/ 438 w 532"/>
                <a:gd name="T59" fmla="*/ 652 h 1607"/>
                <a:gd name="T60" fmla="*/ 438 w 532"/>
                <a:gd name="T61" fmla="*/ 755 h 1607"/>
                <a:gd name="T62" fmla="*/ 335 w 532"/>
                <a:gd name="T63" fmla="*/ 755 h 1607"/>
                <a:gd name="T64" fmla="*/ 335 w 532"/>
                <a:gd name="T65" fmla="*/ 652 h 1607"/>
                <a:gd name="T66" fmla="*/ 335 w 532"/>
                <a:gd name="T67" fmla="*/ 460 h 1607"/>
                <a:gd name="T68" fmla="*/ 438 w 532"/>
                <a:gd name="T69" fmla="*/ 460 h 1607"/>
                <a:gd name="T70" fmla="*/ 438 w 532"/>
                <a:gd name="T71" fmla="*/ 566 h 1607"/>
                <a:gd name="T72" fmla="*/ 335 w 532"/>
                <a:gd name="T73" fmla="*/ 566 h 1607"/>
                <a:gd name="T74" fmla="*/ 335 w 532"/>
                <a:gd name="T75" fmla="*/ 460 h 1607"/>
                <a:gd name="T76" fmla="*/ 93 w 532"/>
                <a:gd name="T77" fmla="*/ 1226 h 1607"/>
                <a:gd name="T78" fmla="*/ 196 w 532"/>
                <a:gd name="T79" fmla="*/ 1226 h 1607"/>
                <a:gd name="T80" fmla="*/ 196 w 532"/>
                <a:gd name="T81" fmla="*/ 1329 h 1607"/>
                <a:gd name="T82" fmla="*/ 93 w 532"/>
                <a:gd name="T83" fmla="*/ 1329 h 1607"/>
                <a:gd name="T84" fmla="*/ 93 w 532"/>
                <a:gd name="T85" fmla="*/ 1226 h 1607"/>
                <a:gd name="T86" fmla="*/ 93 w 532"/>
                <a:gd name="T87" fmla="*/ 1034 h 1607"/>
                <a:gd name="T88" fmla="*/ 196 w 532"/>
                <a:gd name="T89" fmla="*/ 1034 h 1607"/>
                <a:gd name="T90" fmla="*/ 196 w 532"/>
                <a:gd name="T91" fmla="*/ 1137 h 1607"/>
                <a:gd name="T92" fmla="*/ 93 w 532"/>
                <a:gd name="T93" fmla="*/ 1137 h 1607"/>
                <a:gd name="T94" fmla="*/ 93 w 532"/>
                <a:gd name="T95" fmla="*/ 1034 h 1607"/>
                <a:gd name="T96" fmla="*/ 93 w 532"/>
                <a:gd name="T97" fmla="*/ 842 h 1607"/>
                <a:gd name="T98" fmla="*/ 196 w 532"/>
                <a:gd name="T99" fmla="*/ 842 h 1607"/>
                <a:gd name="T100" fmla="*/ 196 w 532"/>
                <a:gd name="T101" fmla="*/ 947 h 1607"/>
                <a:gd name="T102" fmla="*/ 93 w 532"/>
                <a:gd name="T103" fmla="*/ 947 h 1607"/>
                <a:gd name="T104" fmla="*/ 93 w 532"/>
                <a:gd name="T105" fmla="*/ 842 h 1607"/>
                <a:gd name="T106" fmla="*/ 93 w 532"/>
                <a:gd name="T107" fmla="*/ 652 h 1607"/>
                <a:gd name="T108" fmla="*/ 196 w 532"/>
                <a:gd name="T109" fmla="*/ 652 h 1607"/>
                <a:gd name="T110" fmla="*/ 196 w 532"/>
                <a:gd name="T111" fmla="*/ 755 h 1607"/>
                <a:gd name="T112" fmla="*/ 93 w 532"/>
                <a:gd name="T113" fmla="*/ 755 h 1607"/>
                <a:gd name="T114" fmla="*/ 93 w 532"/>
                <a:gd name="T115" fmla="*/ 652 h 1607"/>
                <a:gd name="T116" fmla="*/ 93 w 532"/>
                <a:gd name="T117" fmla="*/ 460 h 1607"/>
                <a:gd name="T118" fmla="*/ 196 w 532"/>
                <a:gd name="T119" fmla="*/ 460 h 1607"/>
                <a:gd name="T120" fmla="*/ 196 w 532"/>
                <a:gd name="T121" fmla="*/ 566 h 1607"/>
                <a:gd name="T122" fmla="*/ 93 w 532"/>
                <a:gd name="T123" fmla="*/ 566 h 1607"/>
                <a:gd name="T124" fmla="*/ 93 w 532"/>
                <a:gd name="T125" fmla="*/ 46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2" h="1607">
                  <a:moveTo>
                    <a:pt x="0" y="314"/>
                  </a:moveTo>
                  <a:lnTo>
                    <a:pt x="0" y="1607"/>
                  </a:lnTo>
                  <a:lnTo>
                    <a:pt x="532" y="1607"/>
                  </a:lnTo>
                  <a:lnTo>
                    <a:pt x="532" y="314"/>
                  </a:lnTo>
                  <a:lnTo>
                    <a:pt x="347" y="314"/>
                  </a:lnTo>
                  <a:lnTo>
                    <a:pt x="347" y="192"/>
                  </a:lnTo>
                  <a:lnTo>
                    <a:pt x="242" y="192"/>
                  </a:lnTo>
                  <a:lnTo>
                    <a:pt x="242" y="314"/>
                  </a:lnTo>
                  <a:lnTo>
                    <a:pt x="163" y="314"/>
                  </a:lnTo>
                  <a:lnTo>
                    <a:pt x="163" y="0"/>
                  </a:lnTo>
                  <a:lnTo>
                    <a:pt x="55" y="0"/>
                  </a:lnTo>
                  <a:lnTo>
                    <a:pt x="55" y="314"/>
                  </a:lnTo>
                  <a:lnTo>
                    <a:pt x="0" y="314"/>
                  </a:lnTo>
                  <a:close/>
                  <a:moveTo>
                    <a:pt x="335" y="1226"/>
                  </a:moveTo>
                  <a:lnTo>
                    <a:pt x="438" y="1226"/>
                  </a:lnTo>
                  <a:lnTo>
                    <a:pt x="438" y="1329"/>
                  </a:lnTo>
                  <a:lnTo>
                    <a:pt x="335" y="1329"/>
                  </a:lnTo>
                  <a:lnTo>
                    <a:pt x="335" y="1226"/>
                  </a:lnTo>
                  <a:close/>
                  <a:moveTo>
                    <a:pt x="335" y="1034"/>
                  </a:moveTo>
                  <a:lnTo>
                    <a:pt x="438" y="1034"/>
                  </a:lnTo>
                  <a:lnTo>
                    <a:pt x="438" y="1137"/>
                  </a:lnTo>
                  <a:lnTo>
                    <a:pt x="335" y="1137"/>
                  </a:lnTo>
                  <a:lnTo>
                    <a:pt x="335" y="1034"/>
                  </a:lnTo>
                  <a:close/>
                  <a:moveTo>
                    <a:pt x="335" y="842"/>
                  </a:moveTo>
                  <a:lnTo>
                    <a:pt x="438" y="842"/>
                  </a:lnTo>
                  <a:lnTo>
                    <a:pt x="438" y="947"/>
                  </a:lnTo>
                  <a:lnTo>
                    <a:pt x="335" y="947"/>
                  </a:lnTo>
                  <a:lnTo>
                    <a:pt x="335" y="842"/>
                  </a:lnTo>
                  <a:close/>
                  <a:moveTo>
                    <a:pt x="335" y="652"/>
                  </a:moveTo>
                  <a:lnTo>
                    <a:pt x="438" y="652"/>
                  </a:lnTo>
                  <a:lnTo>
                    <a:pt x="438" y="755"/>
                  </a:lnTo>
                  <a:lnTo>
                    <a:pt x="335" y="755"/>
                  </a:lnTo>
                  <a:lnTo>
                    <a:pt x="335" y="652"/>
                  </a:lnTo>
                  <a:close/>
                  <a:moveTo>
                    <a:pt x="335" y="460"/>
                  </a:moveTo>
                  <a:lnTo>
                    <a:pt x="438" y="460"/>
                  </a:lnTo>
                  <a:lnTo>
                    <a:pt x="438" y="566"/>
                  </a:lnTo>
                  <a:lnTo>
                    <a:pt x="335" y="566"/>
                  </a:lnTo>
                  <a:lnTo>
                    <a:pt x="335" y="460"/>
                  </a:lnTo>
                  <a:close/>
                  <a:moveTo>
                    <a:pt x="93" y="1226"/>
                  </a:moveTo>
                  <a:lnTo>
                    <a:pt x="196" y="1226"/>
                  </a:lnTo>
                  <a:lnTo>
                    <a:pt x="196" y="1329"/>
                  </a:lnTo>
                  <a:lnTo>
                    <a:pt x="93" y="1329"/>
                  </a:lnTo>
                  <a:lnTo>
                    <a:pt x="93" y="1226"/>
                  </a:lnTo>
                  <a:close/>
                  <a:moveTo>
                    <a:pt x="93" y="1034"/>
                  </a:moveTo>
                  <a:lnTo>
                    <a:pt x="196" y="1034"/>
                  </a:lnTo>
                  <a:lnTo>
                    <a:pt x="196" y="1137"/>
                  </a:lnTo>
                  <a:lnTo>
                    <a:pt x="93" y="1137"/>
                  </a:lnTo>
                  <a:lnTo>
                    <a:pt x="93" y="1034"/>
                  </a:lnTo>
                  <a:close/>
                  <a:moveTo>
                    <a:pt x="93" y="842"/>
                  </a:moveTo>
                  <a:lnTo>
                    <a:pt x="196" y="842"/>
                  </a:lnTo>
                  <a:lnTo>
                    <a:pt x="196" y="947"/>
                  </a:lnTo>
                  <a:lnTo>
                    <a:pt x="93" y="947"/>
                  </a:lnTo>
                  <a:lnTo>
                    <a:pt x="93" y="842"/>
                  </a:lnTo>
                  <a:close/>
                  <a:moveTo>
                    <a:pt x="93" y="652"/>
                  </a:moveTo>
                  <a:lnTo>
                    <a:pt x="196" y="652"/>
                  </a:lnTo>
                  <a:lnTo>
                    <a:pt x="196" y="755"/>
                  </a:lnTo>
                  <a:lnTo>
                    <a:pt x="93" y="755"/>
                  </a:lnTo>
                  <a:lnTo>
                    <a:pt x="93" y="652"/>
                  </a:lnTo>
                  <a:close/>
                  <a:moveTo>
                    <a:pt x="93" y="460"/>
                  </a:moveTo>
                  <a:lnTo>
                    <a:pt x="196" y="460"/>
                  </a:lnTo>
                  <a:lnTo>
                    <a:pt x="196" y="566"/>
                  </a:lnTo>
                  <a:lnTo>
                    <a:pt x="93" y="566"/>
                  </a:lnTo>
                  <a:lnTo>
                    <a:pt x="93" y="4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8" name="işḻîdê"/>
            <p:cNvSpPr/>
            <p:nvPr/>
          </p:nvSpPr>
          <p:spPr bwMode="auto">
            <a:xfrm>
              <a:off x="3008313" y="2128838"/>
              <a:ext cx="844550" cy="3994150"/>
            </a:xfrm>
            <a:custGeom>
              <a:avLst/>
              <a:gdLst>
                <a:gd name="T0" fmla="*/ 0 w 532"/>
                <a:gd name="T1" fmla="*/ 463 h 2516"/>
                <a:gd name="T2" fmla="*/ 0 w 532"/>
                <a:gd name="T3" fmla="*/ 2516 h 2516"/>
                <a:gd name="T4" fmla="*/ 532 w 532"/>
                <a:gd name="T5" fmla="*/ 2516 h 2516"/>
                <a:gd name="T6" fmla="*/ 532 w 532"/>
                <a:gd name="T7" fmla="*/ 463 h 2516"/>
                <a:gd name="T8" fmla="*/ 258 w 532"/>
                <a:gd name="T9" fmla="*/ 0 h 2516"/>
                <a:gd name="T10" fmla="*/ 0 w 532"/>
                <a:gd name="T11" fmla="*/ 463 h 2516"/>
                <a:gd name="T12" fmla="*/ 371 w 532"/>
                <a:gd name="T13" fmla="*/ 1832 h 2516"/>
                <a:gd name="T14" fmla="*/ 443 w 532"/>
                <a:gd name="T15" fmla="*/ 1832 h 2516"/>
                <a:gd name="T16" fmla="*/ 443 w 532"/>
                <a:gd name="T17" fmla="*/ 2139 h 2516"/>
                <a:gd name="T18" fmla="*/ 371 w 532"/>
                <a:gd name="T19" fmla="*/ 2139 h 2516"/>
                <a:gd name="T20" fmla="*/ 371 w 532"/>
                <a:gd name="T21" fmla="*/ 1832 h 2516"/>
                <a:gd name="T22" fmla="*/ 371 w 532"/>
                <a:gd name="T23" fmla="*/ 1432 h 2516"/>
                <a:gd name="T24" fmla="*/ 443 w 532"/>
                <a:gd name="T25" fmla="*/ 1432 h 2516"/>
                <a:gd name="T26" fmla="*/ 443 w 532"/>
                <a:gd name="T27" fmla="*/ 1739 h 2516"/>
                <a:gd name="T28" fmla="*/ 371 w 532"/>
                <a:gd name="T29" fmla="*/ 1739 h 2516"/>
                <a:gd name="T30" fmla="*/ 371 w 532"/>
                <a:gd name="T31" fmla="*/ 1432 h 2516"/>
                <a:gd name="T32" fmla="*/ 371 w 532"/>
                <a:gd name="T33" fmla="*/ 630 h 2516"/>
                <a:gd name="T34" fmla="*/ 443 w 532"/>
                <a:gd name="T35" fmla="*/ 630 h 2516"/>
                <a:gd name="T36" fmla="*/ 443 w 532"/>
                <a:gd name="T37" fmla="*/ 938 h 2516"/>
                <a:gd name="T38" fmla="*/ 371 w 532"/>
                <a:gd name="T39" fmla="*/ 938 h 2516"/>
                <a:gd name="T40" fmla="*/ 371 w 532"/>
                <a:gd name="T41" fmla="*/ 630 h 2516"/>
                <a:gd name="T42" fmla="*/ 230 w 532"/>
                <a:gd name="T43" fmla="*/ 1832 h 2516"/>
                <a:gd name="T44" fmla="*/ 302 w 532"/>
                <a:gd name="T45" fmla="*/ 1832 h 2516"/>
                <a:gd name="T46" fmla="*/ 302 w 532"/>
                <a:gd name="T47" fmla="*/ 2139 h 2516"/>
                <a:gd name="T48" fmla="*/ 230 w 532"/>
                <a:gd name="T49" fmla="*/ 2139 h 2516"/>
                <a:gd name="T50" fmla="*/ 230 w 532"/>
                <a:gd name="T51" fmla="*/ 1832 h 2516"/>
                <a:gd name="T52" fmla="*/ 230 w 532"/>
                <a:gd name="T53" fmla="*/ 1432 h 2516"/>
                <a:gd name="T54" fmla="*/ 302 w 532"/>
                <a:gd name="T55" fmla="*/ 1432 h 2516"/>
                <a:gd name="T56" fmla="*/ 302 w 532"/>
                <a:gd name="T57" fmla="*/ 1739 h 2516"/>
                <a:gd name="T58" fmla="*/ 230 w 532"/>
                <a:gd name="T59" fmla="*/ 1739 h 2516"/>
                <a:gd name="T60" fmla="*/ 230 w 532"/>
                <a:gd name="T61" fmla="*/ 1432 h 2516"/>
                <a:gd name="T62" fmla="*/ 230 w 532"/>
                <a:gd name="T63" fmla="*/ 1031 h 2516"/>
                <a:gd name="T64" fmla="*/ 302 w 532"/>
                <a:gd name="T65" fmla="*/ 1031 h 2516"/>
                <a:gd name="T66" fmla="*/ 302 w 532"/>
                <a:gd name="T67" fmla="*/ 1338 h 2516"/>
                <a:gd name="T68" fmla="*/ 230 w 532"/>
                <a:gd name="T69" fmla="*/ 1338 h 2516"/>
                <a:gd name="T70" fmla="*/ 230 w 532"/>
                <a:gd name="T71" fmla="*/ 1031 h 2516"/>
                <a:gd name="T72" fmla="*/ 230 w 532"/>
                <a:gd name="T73" fmla="*/ 630 h 2516"/>
                <a:gd name="T74" fmla="*/ 302 w 532"/>
                <a:gd name="T75" fmla="*/ 630 h 2516"/>
                <a:gd name="T76" fmla="*/ 302 w 532"/>
                <a:gd name="T77" fmla="*/ 938 h 2516"/>
                <a:gd name="T78" fmla="*/ 230 w 532"/>
                <a:gd name="T79" fmla="*/ 938 h 2516"/>
                <a:gd name="T80" fmla="*/ 230 w 532"/>
                <a:gd name="T81" fmla="*/ 630 h 2516"/>
                <a:gd name="T82" fmla="*/ 88 w 532"/>
                <a:gd name="T83" fmla="*/ 1832 h 2516"/>
                <a:gd name="T84" fmla="*/ 160 w 532"/>
                <a:gd name="T85" fmla="*/ 1832 h 2516"/>
                <a:gd name="T86" fmla="*/ 160 w 532"/>
                <a:gd name="T87" fmla="*/ 2139 h 2516"/>
                <a:gd name="T88" fmla="*/ 88 w 532"/>
                <a:gd name="T89" fmla="*/ 2139 h 2516"/>
                <a:gd name="T90" fmla="*/ 88 w 532"/>
                <a:gd name="T91" fmla="*/ 1832 h 2516"/>
                <a:gd name="T92" fmla="*/ 88 w 532"/>
                <a:gd name="T93" fmla="*/ 1031 h 2516"/>
                <a:gd name="T94" fmla="*/ 160 w 532"/>
                <a:gd name="T95" fmla="*/ 1031 h 2516"/>
                <a:gd name="T96" fmla="*/ 160 w 532"/>
                <a:gd name="T97" fmla="*/ 1338 h 2516"/>
                <a:gd name="T98" fmla="*/ 88 w 532"/>
                <a:gd name="T99" fmla="*/ 1338 h 2516"/>
                <a:gd name="T100" fmla="*/ 88 w 532"/>
                <a:gd name="T101" fmla="*/ 1031 h 2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32" h="2516">
                  <a:moveTo>
                    <a:pt x="0" y="463"/>
                  </a:moveTo>
                  <a:lnTo>
                    <a:pt x="0" y="2516"/>
                  </a:lnTo>
                  <a:lnTo>
                    <a:pt x="532" y="2516"/>
                  </a:lnTo>
                  <a:lnTo>
                    <a:pt x="532" y="463"/>
                  </a:lnTo>
                  <a:lnTo>
                    <a:pt x="258" y="0"/>
                  </a:lnTo>
                  <a:lnTo>
                    <a:pt x="0" y="463"/>
                  </a:lnTo>
                  <a:close/>
                  <a:moveTo>
                    <a:pt x="371" y="1832"/>
                  </a:moveTo>
                  <a:lnTo>
                    <a:pt x="443" y="1832"/>
                  </a:lnTo>
                  <a:lnTo>
                    <a:pt x="443" y="2139"/>
                  </a:lnTo>
                  <a:lnTo>
                    <a:pt x="371" y="2139"/>
                  </a:lnTo>
                  <a:lnTo>
                    <a:pt x="371" y="1832"/>
                  </a:lnTo>
                  <a:close/>
                  <a:moveTo>
                    <a:pt x="371" y="1432"/>
                  </a:moveTo>
                  <a:lnTo>
                    <a:pt x="443" y="1432"/>
                  </a:lnTo>
                  <a:lnTo>
                    <a:pt x="443" y="1739"/>
                  </a:lnTo>
                  <a:lnTo>
                    <a:pt x="371" y="1739"/>
                  </a:lnTo>
                  <a:lnTo>
                    <a:pt x="371" y="1432"/>
                  </a:lnTo>
                  <a:close/>
                  <a:moveTo>
                    <a:pt x="371" y="630"/>
                  </a:moveTo>
                  <a:lnTo>
                    <a:pt x="443" y="630"/>
                  </a:lnTo>
                  <a:lnTo>
                    <a:pt x="443" y="938"/>
                  </a:lnTo>
                  <a:lnTo>
                    <a:pt x="371" y="938"/>
                  </a:lnTo>
                  <a:lnTo>
                    <a:pt x="371" y="630"/>
                  </a:lnTo>
                  <a:close/>
                  <a:moveTo>
                    <a:pt x="230" y="1832"/>
                  </a:moveTo>
                  <a:lnTo>
                    <a:pt x="302" y="1832"/>
                  </a:lnTo>
                  <a:lnTo>
                    <a:pt x="302" y="2139"/>
                  </a:lnTo>
                  <a:lnTo>
                    <a:pt x="230" y="2139"/>
                  </a:lnTo>
                  <a:lnTo>
                    <a:pt x="230" y="1832"/>
                  </a:lnTo>
                  <a:close/>
                  <a:moveTo>
                    <a:pt x="230" y="1432"/>
                  </a:moveTo>
                  <a:lnTo>
                    <a:pt x="302" y="1432"/>
                  </a:lnTo>
                  <a:lnTo>
                    <a:pt x="302" y="1739"/>
                  </a:lnTo>
                  <a:lnTo>
                    <a:pt x="230" y="1739"/>
                  </a:lnTo>
                  <a:lnTo>
                    <a:pt x="230" y="1432"/>
                  </a:lnTo>
                  <a:close/>
                  <a:moveTo>
                    <a:pt x="230" y="1031"/>
                  </a:moveTo>
                  <a:lnTo>
                    <a:pt x="302" y="1031"/>
                  </a:lnTo>
                  <a:lnTo>
                    <a:pt x="302" y="1338"/>
                  </a:lnTo>
                  <a:lnTo>
                    <a:pt x="230" y="1338"/>
                  </a:lnTo>
                  <a:lnTo>
                    <a:pt x="230" y="1031"/>
                  </a:lnTo>
                  <a:close/>
                  <a:moveTo>
                    <a:pt x="230" y="630"/>
                  </a:moveTo>
                  <a:lnTo>
                    <a:pt x="302" y="630"/>
                  </a:lnTo>
                  <a:lnTo>
                    <a:pt x="302" y="938"/>
                  </a:lnTo>
                  <a:lnTo>
                    <a:pt x="230" y="938"/>
                  </a:lnTo>
                  <a:lnTo>
                    <a:pt x="230" y="630"/>
                  </a:lnTo>
                  <a:close/>
                  <a:moveTo>
                    <a:pt x="88" y="1832"/>
                  </a:moveTo>
                  <a:lnTo>
                    <a:pt x="160" y="1832"/>
                  </a:lnTo>
                  <a:lnTo>
                    <a:pt x="160" y="2139"/>
                  </a:lnTo>
                  <a:lnTo>
                    <a:pt x="88" y="2139"/>
                  </a:lnTo>
                  <a:lnTo>
                    <a:pt x="88" y="1832"/>
                  </a:lnTo>
                  <a:close/>
                  <a:moveTo>
                    <a:pt x="88" y="1031"/>
                  </a:moveTo>
                  <a:lnTo>
                    <a:pt x="160" y="1031"/>
                  </a:lnTo>
                  <a:lnTo>
                    <a:pt x="160" y="1338"/>
                  </a:lnTo>
                  <a:lnTo>
                    <a:pt x="88" y="1338"/>
                  </a:lnTo>
                  <a:lnTo>
                    <a:pt x="88" y="10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9" name="îṡḻïḍê"/>
            <p:cNvSpPr/>
            <p:nvPr/>
          </p:nvSpPr>
          <p:spPr bwMode="auto">
            <a:xfrm>
              <a:off x="2041526" y="3784600"/>
              <a:ext cx="844550" cy="2338388"/>
            </a:xfrm>
            <a:custGeom>
              <a:avLst/>
              <a:gdLst>
                <a:gd name="T0" fmla="*/ 0 w 532"/>
                <a:gd name="T1" fmla="*/ 384 h 1473"/>
                <a:gd name="T2" fmla="*/ 0 w 532"/>
                <a:gd name="T3" fmla="*/ 1473 h 1473"/>
                <a:gd name="T4" fmla="*/ 532 w 532"/>
                <a:gd name="T5" fmla="*/ 1473 h 1473"/>
                <a:gd name="T6" fmla="*/ 532 w 532"/>
                <a:gd name="T7" fmla="*/ 384 h 1473"/>
                <a:gd name="T8" fmla="*/ 465 w 532"/>
                <a:gd name="T9" fmla="*/ 384 h 1473"/>
                <a:gd name="T10" fmla="*/ 465 w 532"/>
                <a:gd name="T11" fmla="*/ 283 h 1473"/>
                <a:gd name="T12" fmla="*/ 388 w 532"/>
                <a:gd name="T13" fmla="*/ 283 h 1473"/>
                <a:gd name="T14" fmla="*/ 388 w 532"/>
                <a:gd name="T15" fmla="*/ 0 h 1473"/>
                <a:gd name="T16" fmla="*/ 143 w 532"/>
                <a:gd name="T17" fmla="*/ 0 h 1473"/>
                <a:gd name="T18" fmla="*/ 143 w 532"/>
                <a:gd name="T19" fmla="*/ 283 h 1473"/>
                <a:gd name="T20" fmla="*/ 67 w 532"/>
                <a:gd name="T21" fmla="*/ 283 h 1473"/>
                <a:gd name="T22" fmla="*/ 67 w 532"/>
                <a:gd name="T23" fmla="*/ 384 h 1473"/>
                <a:gd name="T24" fmla="*/ 0 w 532"/>
                <a:gd name="T25" fmla="*/ 384 h 1473"/>
                <a:gd name="T26" fmla="*/ 362 w 532"/>
                <a:gd name="T27" fmla="*/ 1029 h 1473"/>
                <a:gd name="T28" fmla="*/ 457 w 532"/>
                <a:gd name="T29" fmla="*/ 1029 h 1473"/>
                <a:gd name="T30" fmla="*/ 457 w 532"/>
                <a:gd name="T31" fmla="*/ 1137 h 1473"/>
                <a:gd name="T32" fmla="*/ 362 w 532"/>
                <a:gd name="T33" fmla="*/ 1137 h 1473"/>
                <a:gd name="T34" fmla="*/ 362 w 532"/>
                <a:gd name="T35" fmla="*/ 1029 h 1473"/>
                <a:gd name="T36" fmla="*/ 362 w 532"/>
                <a:gd name="T37" fmla="*/ 681 h 1473"/>
                <a:gd name="T38" fmla="*/ 457 w 532"/>
                <a:gd name="T39" fmla="*/ 681 h 1473"/>
                <a:gd name="T40" fmla="*/ 457 w 532"/>
                <a:gd name="T41" fmla="*/ 792 h 1473"/>
                <a:gd name="T42" fmla="*/ 362 w 532"/>
                <a:gd name="T43" fmla="*/ 792 h 1473"/>
                <a:gd name="T44" fmla="*/ 362 w 532"/>
                <a:gd name="T45" fmla="*/ 681 h 1473"/>
                <a:gd name="T46" fmla="*/ 362 w 532"/>
                <a:gd name="T47" fmla="*/ 509 h 1473"/>
                <a:gd name="T48" fmla="*/ 457 w 532"/>
                <a:gd name="T49" fmla="*/ 509 h 1473"/>
                <a:gd name="T50" fmla="*/ 457 w 532"/>
                <a:gd name="T51" fmla="*/ 619 h 1473"/>
                <a:gd name="T52" fmla="*/ 362 w 532"/>
                <a:gd name="T53" fmla="*/ 619 h 1473"/>
                <a:gd name="T54" fmla="*/ 362 w 532"/>
                <a:gd name="T55" fmla="*/ 509 h 1473"/>
                <a:gd name="T56" fmla="*/ 218 w 532"/>
                <a:gd name="T57" fmla="*/ 854 h 1473"/>
                <a:gd name="T58" fmla="*/ 314 w 532"/>
                <a:gd name="T59" fmla="*/ 854 h 1473"/>
                <a:gd name="T60" fmla="*/ 314 w 532"/>
                <a:gd name="T61" fmla="*/ 964 h 1473"/>
                <a:gd name="T62" fmla="*/ 218 w 532"/>
                <a:gd name="T63" fmla="*/ 964 h 1473"/>
                <a:gd name="T64" fmla="*/ 218 w 532"/>
                <a:gd name="T65" fmla="*/ 854 h 1473"/>
                <a:gd name="T66" fmla="*/ 218 w 532"/>
                <a:gd name="T67" fmla="*/ 681 h 1473"/>
                <a:gd name="T68" fmla="*/ 314 w 532"/>
                <a:gd name="T69" fmla="*/ 681 h 1473"/>
                <a:gd name="T70" fmla="*/ 314 w 532"/>
                <a:gd name="T71" fmla="*/ 792 h 1473"/>
                <a:gd name="T72" fmla="*/ 218 w 532"/>
                <a:gd name="T73" fmla="*/ 792 h 1473"/>
                <a:gd name="T74" fmla="*/ 218 w 532"/>
                <a:gd name="T75" fmla="*/ 681 h 1473"/>
                <a:gd name="T76" fmla="*/ 218 w 532"/>
                <a:gd name="T77" fmla="*/ 509 h 1473"/>
                <a:gd name="T78" fmla="*/ 314 w 532"/>
                <a:gd name="T79" fmla="*/ 509 h 1473"/>
                <a:gd name="T80" fmla="*/ 314 w 532"/>
                <a:gd name="T81" fmla="*/ 619 h 1473"/>
                <a:gd name="T82" fmla="*/ 218 w 532"/>
                <a:gd name="T83" fmla="*/ 619 h 1473"/>
                <a:gd name="T84" fmla="*/ 218 w 532"/>
                <a:gd name="T85" fmla="*/ 509 h 1473"/>
                <a:gd name="T86" fmla="*/ 74 w 532"/>
                <a:gd name="T87" fmla="*/ 1029 h 1473"/>
                <a:gd name="T88" fmla="*/ 170 w 532"/>
                <a:gd name="T89" fmla="*/ 1029 h 1473"/>
                <a:gd name="T90" fmla="*/ 170 w 532"/>
                <a:gd name="T91" fmla="*/ 1137 h 1473"/>
                <a:gd name="T92" fmla="*/ 74 w 532"/>
                <a:gd name="T93" fmla="*/ 1137 h 1473"/>
                <a:gd name="T94" fmla="*/ 74 w 532"/>
                <a:gd name="T95" fmla="*/ 1029 h 1473"/>
                <a:gd name="T96" fmla="*/ 74 w 532"/>
                <a:gd name="T97" fmla="*/ 854 h 1473"/>
                <a:gd name="T98" fmla="*/ 170 w 532"/>
                <a:gd name="T99" fmla="*/ 854 h 1473"/>
                <a:gd name="T100" fmla="*/ 170 w 532"/>
                <a:gd name="T101" fmla="*/ 964 h 1473"/>
                <a:gd name="T102" fmla="*/ 74 w 532"/>
                <a:gd name="T103" fmla="*/ 964 h 1473"/>
                <a:gd name="T104" fmla="*/ 74 w 532"/>
                <a:gd name="T105" fmla="*/ 854 h 1473"/>
                <a:gd name="T106" fmla="*/ 74 w 532"/>
                <a:gd name="T107" fmla="*/ 681 h 1473"/>
                <a:gd name="T108" fmla="*/ 170 w 532"/>
                <a:gd name="T109" fmla="*/ 681 h 1473"/>
                <a:gd name="T110" fmla="*/ 170 w 532"/>
                <a:gd name="T111" fmla="*/ 792 h 1473"/>
                <a:gd name="T112" fmla="*/ 74 w 532"/>
                <a:gd name="T113" fmla="*/ 792 h 1473"/>
                <a:gd name="T114" fmla="*/ 74 w 532"/>
                <a:gd name="T115" fmla="*/ 681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2" h="1473">
                  <a:moveTo>
                    <a:pt x="0" y="384"/>
                  </a:moveTo>
                  <a:lnTo>
                    <a:pt x="0" y="1473"/>
                  </a:lnTo>
                  <a:lnTo>
                    <a:pt x="532" y="1473"/>
                  </a:lnTo>
                  <a:lnTo>
                    <a:pt x="532" y="384"/>
                  </a:lnTo>
                  <a:lnTo>
                    <a:pt x="465" y="384"/>
                  </a:lnTo>
                  <a:lnTo>
                    <a:pt x="465" y="283"/>
                  </a:lnTo>
                  <a:lnTo>
                    <a:pt x="388" y="283"/>
                  </a:lnTo>
                  <a:lnTo>
                    <a:pt x="388" y="0"/>
                  </a:lnTo>
                  <a:lnTo>
                    <a:pt x="143" y="0"/>
                  </a:lnTo>
                  <a:lnTo>
                    <a:pt x="143" y="283"/>
                  </a:lnTo>
                  <a:lnTo>
                    <a:pt x="67" y="283"/>
                  </a:lnTo>
                  <a:lnTo>
                    <a:pt x="67" y="384"/>
                  </a:lnTo>
                  <a:lnTo>
                    <a:pt x="0" y="384"/>
                  </a:lnTo>
                  <a:close/>
                  <a:moveTo>
                    <a:pt x="362" y="1029"/>
                  </a:moveTo>
                  <a:lnTo>
                    <a:pt x="457" y="1029"/>
                  </a:lnTo>
                  <a:lnTo>
                    <a:pt x="457" y="1137"/>
                  </a:lnTo>
                  <a:lnTo>
                    <a:pt x="362" y="1137"/>
                  </a:lnTo>
                  <a:lnTo>
                    <a:pt x="362" y="1029"/>
                  </a:lnTo>
                  <a:close/>
                  <a:moveTo>
                    <a:pt x="362" y="681"/>
                  </a:moveTo>
                  <a:lnTo>
                    <a:pt x="457" y="681"/>
                  </a:lnTo>
                  <a:lnTo>
                    <a:pt x="457" y="792"/>
                  </a:lnTo>
                  <a:lnTo>
                    <a:pt x="362" y="792"/>
                  </a:lnTo>
                  <a:lnTo>
                    <a:pt x="362" y="681"/>
                  </a:lnTo>
                  <a:close/>
                  <a:moveTo>
                    <a:pt x="362" y="509"/>
                  </a:moveTo>
                  <a:lnTo>
                    <a:pt x="457" y="509"/>
                  </a:lnTo>
                  <a:lnTo>
                    <a:pt x="457" y="619"/>
                  </a:lnTo>
                  <a:lnTo>
                    <a:pt x="362" y="619"/>
                  </a:lnTo>
                  <a:lnTo>
                    <a:pt x="362" y="509"/>
                  </a:lnTo>
                  <a:close/>
                  <a:moveTo>
                    <a:pt x="218" y="854"/>
                  </a:moveTo>
                  <a:lnTo>
                    <a:pt x="314" y="854"/>
                  </a:lnTo>
                  <a:lnTo>
                    <a:pt x="314" y="964"/>
                  </a:lnTo>
                  <a:lnTo>
                    <a:pt x="218" y="964"/>
                  </a:lnTo>
                  <a:lnTo>
                    <a:pt x="218" y="854"/>
                  </a:lnTo>
                  <a:close/>
                  <a:moveTo>
                    <a:pt x="218" y="681"/>
                  </a:moveTo>
                  <a:lnTo>
                    <a:pt x="314" y="681"/>
                  </a:lnTo>
                  <a:lnTo>
                    <a:pt x="314" y="792"/>
                  </a:lnTo>
                  <a:lnTo>
                    <a:pt x="218" y="792"/>
                  </a:lnTo>
                  <a:lnTo>
                    <a:pt x="218" y="681"/>
                  </a:lnTo>
                  <a:close/>
                  <a:moveTo>
                    <a:pt x="218" y="509"/>
                  </a:moveTo>
                  <a:lnTo>
                    <a:pt x="314" y="509"/>
                  </a:lnTo>
                  <a:lnTo>
                    <a:pt x="314" y="619"/>
                  </a:lnTo>
                  <a:lnTo>
                    <a:pt x="218" y="619"/>
                  </a:lnTo>
                  <a:lnTo>
                    <a:pt x="218" y="509"/>
                  </a:lnTo>
                  <a:close/>
                  <a:moveTo>
                    <a:pt x="74" y="1029"/>
                  </a:moveTo>
                  <a:lnTo>
                    <a:pt x="170" y="1029"/>
                  </a:lnTo>
                  <a:lnTo>
                    <a:pt x="170" y="1137"/>
                  </a:lnTo>
                  <a:lnTo>
                    <a:pt x="74" y="1137"/>
                  </a:lnTo>
                  <a:lnTo>
                    <a:pt x="74" y="1029"/>
                  </a:lnTo>
                  <a:close/>
                  <a:moveTo>
                    <a:pt x="74" y="854"/>
                  </a:moveTo>
                  <a:lnTo>
                    <a:pt x="170" y="854"/>
                  </a:lnTo>
                  <a:lnTo>
                    <a:pt x="170" y="964"/>
                  </a:lnTo>
                  <a:lnTo>
                    <a:pt x="74" y="964"/>
                  </a:lnTo>
                  <a:lnTo>
                    <a:pt x="74" y="854"/>
                  </a:lnTo>
                  <a:close/>
                  <a:moveTo>
                    <a:pt x="74" y="681"/>
                  </a:moveTo>
                  <a:lnTo>
                    <a:pt x="170" y="681"/>
                  </a:lnTo>
                  <a:lnTo>
                    <a:pt x="170" y="792"/>
                  </a:lnTo>
                  <a:lnTo>
                    <a:pt x="74" y="792"/>
                  </a:lnTo>
                  <a:lnTo>
                    <a:pt x="74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60" name="iṧlïḋe"/>
            <p:cNvSpPr/>
            <p:nvPr/>
          </p:nvSpPr>
          <p:spPr bwMode="auto">
            <a:xfrm>
              <a:off x="4940301" y="3128963"/>
              <a:ext cx="846138" cy="2994025"/>
            </a:xfrm>
            <a:custGeom>
              <a:avLst/>
              <a:gdLst>
                <a:gd name="T0" fmla="*/ 0 w 533"/>
                <a:gd name="T1" fmla="*/ 1886 h 1886"/>
                <a:gd name="T2" fmla="*/ 533 w 533"/>
                <a:gd name="T3" fmla="*/ 92 h 1886"/>
                <a:gd name="T4" fmla="*/ 487 w 533"/>
                <a:gd name="T5" fmla="*/ 0 h 1886"/>
                <a:gd name="T6" fmla="*/ 202 w 533"/>
                <a:gd name="T7" fmla="*/ 92 h 1886"/>
                <a:gd name="T8" fmla="*/ 310 w 533"/>
                <a:gd name="T9" fmla="*/ 1466 h 1886"/>
                <a:gd name="T10" fmla="*/ 456 w 533"/>
                <a:gd name="T11" fmla="*/ 1517 h 1886"/>
                <a:gd name="T12" fmla="*/ 310 w 533"/>
                <a:gd name="T13" fmla="*/ 1466 h 1886"/>
                <a:gd name="T14" fmla="*/ 456 w 533"/>
                <a:gd name="T15" fmla="*/ 1346 h 1886"/>
                <a:gd name="T16" fmla="*/ 310 w 533"/>
                <a:gd name="T17" fmla="*/ 1397 h 1886"/>
                <a:gd name="T18" fmla="*/ 310 w 533"/>
                <a:gd name="T19" fmla="*/ 1226 h 1886"/>
                <a:gd name="T20" fmla="*/ 456 w 533"/>
                <a:gd name="T21" fmla="*/ 1277 h 1886"/>
                <a:gd name="T22" fmla="*/ 310 w 533"/>
                <a:gd name="T23" fmla="*/ 1226 h 1886"/>
                <a:gd name="T24" fmla="*/ 456 w 533"/>
                <a:gd name="T25" fmla="*/ 1106 h 1886"/>
                <a:gd name="T26" fmla="*/ 310 w 533"/>
                <a:gd name="T27" fmla="*/ 1157 h 1886"/>
                <a:gd name="T28" fmla="*/ 310 w 533"/>
                <a:gd name="T29" fmla="*/ 866 h 1886"/>
                <a:gd name="T30" fmla="*/ 456 w 533"/>
                <a:gd name="T31" fmla="*/ 917 h 1886"/>
                <a:gd name="T32" fmla="*/ 310 w 533"/>
                <a:gd name="T33" fmla="*/ 866 h 1886"/>
                <a:gd name="T34" fmla="*/ 456 w 533"/>
                <a:gd name="T35" fmla="*/ 747 h 1886"/>
                <a:gd name="T36" fmla="*/ 310 w 533"/>
                <a:gd name="T37" fmla="*/ 797 h 1886"/>
                <a:gd name="T38" fmla="*/ 310 w 533"/>
                <a:gd name="T39" fmla="*/ 627 h 1886"/>
                <a:gd name="T40" fmla="*/ 456 w 533"/>
                <a:gd name="T41" fmla="*/ 677 h 1886"/>
                <a:gd name="T42" fmla="*/ 310 w 533"/>
                <a:gd name="T43" fmla="*/ 627 h 1886"/>
                <a:gd name="T44" fmla="*/ 456 w 533"/>
                <a:gd name="T45" fmla="*/ 507 h 1886"/>
                <a:gd name="T46" fmla="*/ 310 w 533"/>
                <a:gd name="T47" fmla="*/ 557 h 1886"/>
                <a:gd name="T48" fmla="*/ 310 w 533"/>
                <a:gd name="T49" fmla="*/ 267 h 1886"/>
                <a:gd name="T50" fmla="*/ 456 w 533"/>
                <a:gd name="T51" fmla="*/ 317 h 1886"/>
                <a:gd name="T52" fmla="*/ 310 w 533"/>
                <a:gd name="T53" fmla="*/ 267 h 1886"/>
                <a:gd name="T54" fmla="*/ 223 w 533"/>
                <a:gd name="T55" fmla="*/ 1586 h 1886"/>
                <a:gd name="T56" fmla="*/ 77 w 533"/>
                <a:gd name="T57" fmla="*/ 1637 h 1886"/>
                <a:gd name="T58" fmla="*/ 77 w 533"/>
                <a:gd name="T59" fmla="*/ 1466 h 1886"/>
                <a:gd name="T60" fmla="*/ 223 w 533"/>
                <a:gd name="T61" fmla="*/ 1517 h 1886"/>
                <a:gd name="T62" fmla="*/ 77 w 533"/>
                <a:gd name="T63" fmla="*/ 1466 h 1886"/>
                <a:gd name="T64" fmla="*/ 223 w 533"/>
                <a:gd name="T65" fmla="*/ 1226 h 1886"/>
                <a:gd name="T66" fmla="*/ 77 w 533"/>
                <a:gd name="T67" fmla="*/ 1277 h 1886"/>
                <a:gd name="T68" fmla="*/ 77 w 533"/>
                <a:gd name="T69" fmla="*/ 986 h 1886"/>
                <a:gd name="T70" fmla="*/ 223 w 533"/>
                <a:gd name="T71" fmla="*/ 1037 h 1886"/>
                <a:gd name="T72" fmla="*/ 77 w 533"/>
                <a:gd name="T73" fmla="*/ 986 h 1886"/>
                <a:gd name="T74" fmla="*/ 223 w 533"/>
                <a:gd name="T75" fmla="*/ 866 h 1886"/>
                <a:gd name="T76" fmla="*/ 77 w 533"/>
                <a:gd name="T77" fmla="*/ 917 h 1886"/>
                <a:gd name="T78" fmla="*/ 77 w 533"/>
                <a:gd name="T79" fmla="*/ 627 h 1886"/>
                <a:gd name="T80" fmla="*/ 223 w 533"/>
                <a:gd name="T81" fmla="*/ 677 h 1886"/>
                <a:gd name="T82" fmla="*/ 77 w 533"/>
                <a:gd name="T83" fmla="*/ 627 h 1886"/>
                <a:gd name="T84" fmla="*/ 223 w 533"/>
                <a:gd name="T85" fmla="*/ 387 h 1886"/>
                <a:gd name="T86" fmla="*/ 77 w 533"/>
                <a:gd name="T87" fmla="*/ 437 h 1886"/>
                <a:gd name="T88" fmla="*/ 77 w 533"/>
                <a:gd name="T89" fmla="*/ 267 h 1886"/>
                <a:gd name="T90" fmla="*/ 223 w 533"/>
                <a:gd name="T91" fmla="*/ 317 h 1886"/>
                <a:gd name="T92" fmla="*/ 77 w 533"/>
                <a:gd name="T93" fmla="*/ 267 h 1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3" h="1886">
                  <a:moveTo>
                    <a:pt x="0" y="92"/>
                  </a:moveTo>
                  <a:lnTo>
                    <a:pt x="0" y="1886"/>
                  </a:lnTo>
                  <a:lnTo>
                    <a:pt x="533" y="1886"/>
                  </a:lnTo>
                  <a:lnTo>
                    <a:pt x="533" y="92"/>
                  </a:lnTo>
                  <a:lnTo>
                    <a:pt x="487" y="92"/>
                  </a:lnTo>
                  <a:lnTo>
                    <a:pt x="487" y="0"/>
                  </a:lnTo>
                  <a:lnTo>
                    <a:pt x="202" y="0"/>
                  </a:lnTo>
                  <a:lnTo>
                    <a:pt x="202" y="92"/>
                  </a:lnTo>
                  <a:lnTo>
                    <a:pt x="0" y="92"/>
                  </a:lnTo>
                  <a:close/>
                  <a:moveTo>
                    <a:pt x="310" y="1466"/>
                  </a:moveTo>
                  <a:lnTo>
                    <a:pt x="456" y="1466"/>
                  </a:lnTo>
                  <a:lnTo>
                    <a:pt x="456" y="1517"/>
                  </a:lnTo>
                  <a:lnTo>
                    <a:pt x="310" y="1517"/>
                  </a:lnTo>
                  <a:lnTo>
                    <a:pt x="310" y="1466"/>
                  </a:lnTo>
                  <a:close/>
                  <a:moveTo>
                    <a:pt x="310" y="1346"/>
                  </a:moveTo>
                  <a:lnTo>
                    <a:pt x="456" y="1346"/>
                  </a:lnTo>
                  <a:lnTo>
                    <a:pt x="456" y="1397"/>
                  </a:lnTo>
                  <a:lnTo>
                    <a:pt x="310" y="1397"/>
                  </a:lnTo>
                  <a:lnTo>
                    <a:pt x="310" y="1346"/>
                  </a:lnTo>
                  <a:close/>
                  <a:moveTo>
                    <a:pt x="310" y="1226"/>
                  </a:moveTo>
                  <a:lnTo>
                    <a:pt x="456" y="1226"/>
                  </a:lnTo>
                  <a:lnTo>
                    <a:pt x="456" y="1277"/>
                  </a:lnTo>
                  <a:lnTo>
                    <a:pt x="310" y="1277"/>
                  </a:lnTo>
                  <a:lnTo>
                    <a:pt x="310" y="1226"/>
                  </a:lnTo>
                  <a:close/>
                  <a:moveTo>
                    <a:pt x="310" y="1106"/>
                  </a:moveTo>
                  <a:lnTo>
                    <a:pt x="456" y="1106"/>
                  </a:lnTo>
                  <a:lnTo>
                    <a:pt x="456" y="1157"/>
                  </a:lnTo>
                  <a:lnTo>
                    <a:pt x="310" y="1157"/>
                  </a:lnTo>
                  <a:lnTo>
                    <a:pt x="310" y="1106"/>
                  </a:lnTo>
                  <a:close/>
                  <a:moveTo>
                    <a:pt x="310" y="866"/>
                  </a:moveTo>
                  <a:lnTo>
                    <a:pt x="456" y="866"/>
                  </a:lnTo>
                  <a:lnTo>
                    <a:pt x="456" y="917"/>
                  </a:lnTo>
                  <a:lnTo>
                    <a:pt x="310" y="917"/>
                  </a:lnTo>
                  <a:lnTo>
                    <a:pt x="310" y="866"/>
                  </a:lnTo>
                  <a:close/>
                  <a:moveTo>
                    <a:pt x="310" y="747"/>
                  </a:moveTo>
                  <a:lnTo>
                    <a:pt x="456" y="747"/>
                  </a:lnTo>
                  <a:lnTo>
                    <a:pt x="456" y="797"/>
                  </a:lnTo>
                  <a:lnTo>
                    <a:pt x="310" y="797"/>
                  </a:lnTo>
                  <a:lnTo>
                    <a:pt x="310" y="747"/>
                  </a:lnTo>
                  <a:close/>
                  <a:moveTo>
                    <a:pt x="310" y="627"/>
                  </a:moveTo>
                  <a:lnTo>
                    <a:pt x="456" y="627"/>
                  </a:lnTo>
                  <a:lnTo>
                    <a:pt x="456" y="677"/>
                  </a:lnTo>
                  <a:lnTo>
                    <a:pt x="310" y="677"/>
                  </a:lnTo>
                  <a:lnTo>
                    <a:pt x="310" y="627"/>
                  </a:lnTo>
                  <a:close/>
                  <a:moveTo>
                    <a:pt x="310" y="507"/>
                  </a:moveTo>
                  <a:lnTo>
                    <a:pt x="456" y="507"/>
                  </a:lnTo>
                  <a:lnTo>
                    <a:pt x="456" y="557"/>
                  </a:lnTo>
                  <a:lnTo>
                    <a:pt x="310" y="557"/>
                  </a:lnTo>
                  <a:lnTo>
                    <a:pt x="310" y="507"/>
                  </a:lnTo>
                  <a:close/>
                  <a:moveTo>
                    <a:pt x="310" y="267"/>
                  </a:moveTo>
                  <a:lnTo>
                    <a:pt x="456" y="267"/>
                  </a:lnTo>
                  <a:lnTo>
                    <a:pt x="456" y="317"/>
                  </a:lnTo>
                  <a:lnTo>
                    <a:pt x="310" y="317"/>
                  </a:lnTo>
                  <a:lnTo>
                    <a:pt x="310" y="267"/>
                  </a:lnTo>
                  <a:close/>
                  <a:moveTo>
                    <a:pt x="77" y="1586"/>
                  </a:moveTo>
                  <a:lnTo>
                    <a:pt x="223" y="1586"/>
                  </a:lnTo>
                  <a:lnTo>
                    <a:pt x="223" y="1637"/>
                  </a:lnTo>
                  <a:lnTo>
                    <a:pt x="77" y="1637"/>
                  </a:lnTo>
                  <a:lnTo>
                    <a:pt x="77" y="1586"/>
                  </a:lnTo>
                  <a:close/>
                  <a:moveTo>
                    <a:pt x="77" y="1466"/>
                  </a:moveTo>
                  <a:lnTo>
                    <a:pt x="223" y="1466"/>
                  </a:lnTo>
                  <a:lnTo>
                    <a:pt x="223" y="1517"/>
                  </a:lnTo>
                  <a:lnTo>
                    <a:pt x="77" y="1517"/>
                  </a:lnTo>
                  <a:lnTo>
                    <a:pt x="77" y="1466"/>
                  </a:lnTo>
                  <a:close/>
                  <a:moveTo>
                    <a:pt x="77" y="1226"/>
                  </a:moveTo>
                  <a:lnTo>
                    <a:pt x="223" y="1226"/>
                  </a:lnTo>
                  <a:lnTo>
                    <a:pt x="223" y="1277"/>
                  </a:lnTo>
                  <a:lnTo>
                    <a:pt x="77" y="1277"/>
                  </a:lnTo>
                  <a:lnTo>
                    <a:pt x="77" y="1226"/>
                  </a:lnTo>
                  <a:close/>
                  <a:moveTo>
                    <a:pt x="77" y="986"/>
                  </a:moveTo>
                  <a:lnTo>
                    <a:pt x="223" y="986"/>
                  </a:lnTo>
                  <a:lnTo>
                    <a:pt x="223" y="1037"/>
                  </a:lnTo>
                  <a:lnTo>
                    <a:pt x="77" y="1037"/>
                  </a:lnTo>
                  <a:lnTo>
                    <a:pt x="77" y="986"/>
                  </a:lnTo>
                  <a:close/>
                  <a:moveTo>
                    <a:pt x="77" y="866"/>
                  </a:moveTo>
                  <a:lnTo>
                    <a:pt x="223" y="866"/>
                  </a:lnTo>
                  <a:lnTo>
                    <a:pt x="223" y="917"/>
                  </a:lnTo>
                  <a:lnTo>
                    <a:pt x="77" y="917"/>
                  </a:lnTo>
                  <a:lnTo>
                    <a:pt x="77" y="866"/>
                  </a:lnTo>
                  <a:close/>
                  <a:moveTo>
                    <a:pt x="77" y="627"/>
                  </a:moveTo>
                  <a:lnTo>
                    <a:pt x="223" y="627"/>
                  </a:lnTo>
                  <a:lnTo>
                    <a:pt x="223" y="677"/>
                  </a:lnTo>
                  <a:lnTo>
                    <a:pt x="77" y="677"/>
                  </a:lnTo>
                  <a:lnTo>
                    <a:pt x="77" y="627"/>
                  </a:lnTo>
                  <a:close/>
                  <a:moveTo>
                    <a:pt x="77" y="387"/>
                  </a:moveTo>
                  <a:lnTo>
                    <a:pt x="223" y="387"/>
                  </a:lnTo>
                  <a:lnTo>
                    <a:pt x="223" y="437"/>
                  </a:lnTo>
                  <a:lnTo>
                    <a:pt x="77" y="437"/>
                  </a:lnTo>
                  <a:lnTo>
                    <a:pt x="77" y="387"/>
                  </a:lnTo>
                  <a:close/>
                  <a:moveTo>
                    <a:pt x="77" y="267"/>
                  </a:moveTo>
                  <a:lnTo>
                    <a:pt x="223" y="267"/>
                  </a:lnTo>
                  <a:lnTo>
                    <a:pt x="223" y="317"/>
                  </a:lnTo>
                  <a:lnTo>
                    <a:pt x="77" y="317"/>
                  </a:lnTo>
                  <a:lnTo>
                    <a:pt x="7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61" name="íS1ïďe"/>
            <p:cNvSpPr/>
            <p:nvPr/>
          </p:nvSpPr>
          <p:spPr bwMode="auto">
            <a:xfrm>
              <a:off x="3973513" y="3460750"/>
              <a:ext cx="846138" cy="2662238"/>
            </a:xfrm>
            <a:custGeom>
              <a:avLst/>
              <a:gdLst>
                <a:gd name="T0" fmla="*/ 0 w 533"/>
                <a:gd name="T1" fmla="*/ 1677 h 1677"/>
                <a:gd name="T2" fmla="*/ 533 w 533"/>
                <a:gd name="T3" fmla="*/ 204 h 1677"/>
                <a:gd name="T4" fmla="*/ 437 w 533"/>
                <a:gd name="T5" fmla="*/ 0 h 1677"/>
                <a:gd name="T6" fmla="*/ 329 w 533"/>
                <a:gd name="T7" fmla="*/ 204 h 1677"/>
                <a:gd name="T8" fmla="*/ 401 w 533"/>
                <a:gd name="T9" fmla="*/ 1252 h 1677"/>
                <a:gd name="T10" fmla="*/ 473 w 533"/>
                <a:gd name="T11" fmla="*/ 1324 h 1677"/>
                <a:gd name="T12" fmla="*/ 401 w 533"/>
                <a:gd name="T13" fmla="*/ 1252 h 1677"/>
                <a:gd name="T14" fmla="*/ 473 w 533"/>
                <a:gd name="T15" fmla="*/ 1104 h 1677"/>
                <a:gd name="T16" fmla="*/ 401 w 533"/>
                <a:gd name="T17" fmla="*/ 1176 h 1677"/>
                <a:gd name="T18" fmla="*/ 401 w 533"/>
                <a:gd name="T19" fmla="*/ 957 h 1677"/>
                <a:gd name="T20" fmla="*/ 473 w 533"/>
                <a:gd name="T21" fmla="*/ 1029 h 1677"/>
                <a:gd name="T22" fmla="*/ 401 w 533"/>
                <a:gd name="T23" fmla="*/ 957 h 1677"/>
                <a:gd name="T24" fmla="*/ 473 w 533"/>
                <a:gd name="T25" fmla="*/ 811 h 1677"/>
                <a:gd name="T26" fmla="*/ 401 w 533"/>
                <a:gd name="T27" fmla="*/ 883 h 1677"/>
                <a:gd name="T28" fmla="*/ 401 w 533"/>
                <a:gd name="T29" fmla="*/ 662 h 1677"/>
                <a:gd name="T30" fmla="*/ 473 w 533"/>
                <a:gd name="T31" fmla="*/ 734 h 1677"/>
                <a:gd name="T32" fmla="*/ 401 w 533"/>
                <a:gd name="T33" fmla="*/ 662 h 1677"/>
                <a:gd name="T34" fmla="*/ 473 w 533"/>
                <a:gd name="T35" fmla="*/ 516 h 1677"/>
                <a:gd name="T36" fmla="*/ 401 w 533"/>
                <a:gd name="T37" fmla="*/ 588 h 1677"/>
                <a:gd name="T38" fmla="*/ 288 w 533"/>
                <a:gd name="T39" fmla="*/ 1104 h 1677"/>
                <a:gd name="T40" fmla="*/ 360 w 533"/>
                <a:gd name="T41" fmla="*/ 1176 h 1677"/>
                <a:gd name="T42" fmla="*/ 288 w 533"/>
                <a:gd name="T43" fmla="*/ 1104 h 1677"/>
                <a:gd name="T44" fmla="*/ 360 w 533"/>
                <a:gd name="T45" fmla="*/ 957 h 1677"/>
                <a:gd name="T46" fmla="*/ 288 w 533"/>
                <a:gd name="T47" fmla="*/ 1029 h 1677"/>
                <a:gd name="T48" fmla="*/ 288 w 533"/>
                <a:gd name="T49" fmla="*/ 662 h 1677"/>
                <a:gd name="T50" fmla="*/ 360 w 533"/>
                <a:gd name="T51" fmla="*/ 734 h 1677"/>
                <a:gd name="T52" fmla="*/ 288 w 533"/>
                <a:gd name="T53" fmla="*/ 662 h 1677"/>
                <a:gd name="T54" fmla="*/ 360 w 533"/>
                <a:gd name="T55" fmla="*/ 516 h 1677"/>
                <a:gd name="T56" fmla="*/ 288 w 533"/>
                <a:gd name="T57" fmla="*/ 588 h 1677"/>
                <a:gd name="T58" fmla="*/ 288 w 533"/>
                <a:gd name="T59" fmla="*/ 370 h 1677"/>
                <a:gd name="T60" fmla="*/ 360 w 533"/>
                <a:gd name="T61" fmla="*/ 442 h 1677"/>
                <a:gd name="T62" fmla="*/ 288 w 533"/>
                <a:gd name="T63" fmla="*/ 370 h 1677"/>
                <a:gd name="T64" fmla="*/ 245 w 533"/>
                <a:gd name="T65" fmla="*/ 1252 h 1677"/>
                <a:gd name="T66" fmla="*/ 173 w 533"/>
                <a:gd name="T67" fmla="*/ 1324 h 1677"/>
                <a:gd name="T68" fmla="*/ 173 w 533"/>
                <a:gd name="T69" fmla="*/ 1104 h 1677"/>
                <a:gd name="T70" fmla="*/ 245 w 533"/>
                <a:gd name="T71" fmla="*/ 1176 h 1677"/>
                <a:gd name="T72" fmla="*/ 173 w 533"/>
                <a:gd name="T73" fmla="*/ 1104 h 1677"/>
                <a:gd name="T74" fmla="*/ 245 w 533"/>
                <a:gd name="T75" fmla="*/ 811 h 1677"/>
                <a:gd name="T76" fmla="*/ 173 w 533"/>
                <a:gd name="T77" fmla="*/ 883 h 1677"/>
                <a:gd name="T78" fmla="*/ 173 w 533"/>
                <a:gd name="T79" fmla="*/ 662 h 1677"/>
                <a:gd name="T80" fmla="*/ 245 w 533"/>
                <a:gd name="T81" fmla="*/ 734 h 1677"/>
                <a:gd name="T82" fmla="*/ 173 w 533"/>
                <a:gd name="T83" fmla="*/ 662 h 1677"/>
                <a:gd name="T84" fmla="*/ 245 w 533"/>
                <a:gd name="T85" fmla="*/ 516 h 1677"/>
                <a:gd name="T86" fmla="*/ 173 w 533"/>
                <a:gd name="T87" fmla="*/ 588 h 1677"/>
                <a:gd name="T88" fmla="*/ 173 w 533"/>
                <a:gd name="T89" fmla="*/ 370 h 1677"/>
                <a:gd name="T90" fmla="*/ 245 w 533"/>
                <a:gd name="T91" fmla="*/ 442 h 1677"/>
                <a:gd name="T92" fmla="*/ 173 w 533"/>
                <a:gd name="T93" fmla="*/ 370 h 1677"/>
                <a:gd name="T94" fmla="*/ 132 w 533"/>
                <a:gd name="T95" fmla="*/ 1252 h 1677"/>
                <a:gd name="T96" fmla="*/ 60 w 533"/>
                <a:gd name="T97" fmla="*/ 1324 h 1677"/>
                <a:gd name="T98" fmla="*/ 60 w 533"/>
                <a:gd name="T99" fmla="*/ 1104 h 1677"/>
                <a:gd name="T100" fmla="*/ 132 w 533"/>
                <a:gd name="T101" fmla="*/ 1176 h 1677"/>
                <a:gd name="T102" fmla="*/ 60 w 533"/>
                <a:gd name="T103" fmla="*/ 1104 h 1677"/>
                <a:gd name="T104" fmla="*/ 132 w 533"/>
                <a:gd name="T105" fmla="*/ 957 h 1677"/>
                <a:gd name="T106" fmla="*/ 60 w 533"/>
                <a:gd name="T107" fmla="*/ 1029 h 1677"/>
                <a:gd name="T108" fmla="*/ 60 w 533"/>
                <a:gd name="T109" fmla="*/ 811 h 1677"/>
                <a:gd name="T110" fmla="*/ 132 w 533"/>
                <a:gd name="T111" fmla="*/ 883 h 1677"/>
                <a:gd name="T112" fmla="*/ 60 w 533"/>
                <a:gd name="T113" fmla="*/ 811 h 1677"/>
                <a:gd name="T114" fmla="*/ 132 w 533"/>
                <a:gd name="T115" fmla="*/ 516 h 1677"/>
                <a:gd name="T116" fmla="*/ 60 w 533"/>
                <a:gd name="T117" fmla="*/ 588 h 1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1677">
                  <a:moveTo>
                    <a:pt x="0" y="204"/>
                  </a:moveTo>
                  <a:lnTo>
                    <a:pt x="0" y="1677"/>
                  </a:lnTo>
                  <a:lnTo>
                    <a:pt x="533" y="1677"/>
                  </a:lnTo>
                  <a:lnTo>
                    <a:pt x="533" y="204"/>
                  </a:lnTo>
                  <a:lnTo>
                    <a:pt x="437" y="204"/>
                  </a:lnTo>
                  <a:lnTo>
                    <a:pt x="437" y="0"/>
                  </a:lnTo>
                  <a:lnTo>
                    <a:pt x="329" y="0"/>
                  </a:lnTo>
                  <a:lnTo>
                    <a:pt x="329" y="204"/>
                  </a:lnTo>
                  <a:lnTo>
                    <a:pt x="0" y="204"/>
                  </a:lnTo>
                  <a:close/>
                  <a:moveTo>
                    <a:pt x="401" y="1252"/>
                  </a:moveTo>
                  <a:lnTo>
                    <a:pt x="473" y="1252"/>
                  </a:lnTo>
                  <a:lnTo>
                    <a:pt x="473" y="1324"/>
                  </a:lnTo>
                  <a:lnTo>
                    <a:pt x="401" y="1324"/>
                  </a:lnTo>
                  <a:lnTo>
                    <a:pt x="401" y="1252"/>
                  </a:lnTo>
                  <a:close/>
                  <a:moveTo>
                    <a:pt x="401" y="1104"/>
                  </a:moveTo>
                  <a:lnTo>
                    <a:pt x="473" y="1104"/>
                  </a:lnTo>
                  <a:lnTo>
                    <a:pt x="473" y="1176"/>
                  </a:lnTo>
                  <a:lnTo>
                    <a:pt x="401" y="1176"/>
                  </a:lnTo>
                  <a:lnTo>
                    <a:pt x="401" y="1104"/>
                  </a:lnTo>
                  <a:close/>
                  <a:moveTo>
                    <a:pt x="401" y="957"/>
                  </a:moveTo>
                  <a:lnTo>
                    <a:pt x="473" y="957"/>
                  </a:lnTo>
                  <a:lnTo>
                    <a:pt x="473" y="1029"/>
                  </a:lnTo>
                  <a:lnTo>
                    <a:pt x="401" y="1029"/>
                  </a:lnTo>
                  <a:lnTo>
                    <a:pt x="401" y="957"/>
                  </a:lnTo>
                  <a:close/>
                  <a:moveTo>
                    <a:pt x="401" y="811"/>
                  </a:moveTo>
                  <a:lnTo>
                    <a:pt x="473" y="811"/>
                  </a:lnTo>
                  <a:lnTo>
                    <a:pt x="473" y="883"/>
                  </a:lnTo>
                  <a:lnTo>
                    <a:pt x="401" y="883"/>
                  </a:lnTo>
                  <a:lnTo>
                    <a:pt x="401" y="811"/>
                  </a:lnTo>
                  <a:close/>
                  <a:moveTo>
                    <a:pt x="401" y="662"/>
                  </a:moveTo>
                  <a:lnTo>
                    <a:pt x="473" y="662"/>
                  </a:lnTo>
                  <a:lnTo>
                    <a:pt x="473" y="734"/>
                  </a:lnTo>
                  <a:lnTo>
                    <a:pt x="401" y="734"/>
                  </a:lnTo>
                  <a:lnTo>
                    <a:pt x="401" y="662"/>
                  </a:lnTo>
                  <a:close/>
                  <a:moveTo>
                    <a:pt x="401" y="516"/>
                  </a:moveTo>
                  <a:lnTo>
                    <a:pt x="473" y="516"/>
                  </a:lnTo>
                  <a:lnTo>
                    <a:pt x="473" y="588"/>
                  </a:lnTo>
                  <a:lnTo>
                    <a:pt x="401" y="588"/>
                  </a:lnTo>
                  <a:lnTo>
                    <a:pt x="401" y="516"/>
                  </a:lnTo>
                  <a:close/>
                  <a:moveTo>
                    <a:pt x="288" y="1104"/>
                  </a:moveTo>
                  <a:lnTo>
                    <a:pt x="360" y="1104"/>
                  </a:lnTo>
                  <a:lnTo>
                    <a:pt x="360" y="1176"/>
                  </a:lnTo>
                  <a:lnTo>
                    <a:pt x="288" y="1176"/>
                  </a:lnTo>
                  <a:lnTo>
                    <a:pt x="288" y="1104"/>
                  </a:lnTo>
                  <a:close/>
                  <a:moveTo>
                    <a:pt x="288" y="957"/>
                  </a:moveTo>
                  <a:lnTo>
                    <a:pt x="360" y="957"/>
                  </a:lnTo>
                  <a:lnTo>
                    <a:pt x="360" y="1029"/>
                  </a:lnTo>
                  <a:lnTo>
                    <a:pt x="288" y="1029"/>
                  </a:lnTo>
                  <a:lnTo>
                    <a:pt x="288" y="957"/>
                  </a:lnTo>
                  <a:close/>
                  <a:moveTo>
                    <a:pt x="288" y="662"/>
                  </a:moveTo>
                  <a:lnTo>
                    <a:pt x="360" y="662"/>
                  </a:lnTo>
                  <a:lnTo>
                    <a:pt x="360" y="734"/>
                  </a:lnTo>
                  <a:lnTo>
                    <a:pt x="288" y="734"/>
                  </a:lnTo>
                  <a:lnTo>
                    <a:pt x="288" y="662"/>
                  </a:lnTo>
                  <a:close/>
                  <a:moveTo>
                    <a:pt x="288" y="516"/>
                  </a:moveTo>
                  <a:lnTo>
                    <a:pt x="360" y="516"/>
                  </a:lnTo>
                  <a:lnTo>
                    <a:pt x="360" y="588"/>
                  </a:lnTo>
                  <a:lnTo>
                    <a:pt x="288" y="588"/>
                  </a:lnTo>
                  <a:lnTo>
                    <a:pt x="288" y="516"/>
                  </a:lnTo>
                  <a:close/>
                  <a:moveTo>
                    <a:pt x="288" y="370"/>
                  </a:moveTo>
                  <a:lnTo>
                    <a:pt x="360" y="370"/>
                  </a:lnTo>
                  <a:lnTo>
                    <a:pt x="360" y="442"/>
                  </a:lnTo>
                  <a:lnTo>
                    <a:pt x="288" y="442"/>
                  </a:lnTo>
                  <a:lnTo>
                    <a:pt x="288" y="370"/>
                  </a:lnTo>
                  <a:close/>
                  <a:moveTo>
                    <a:pt x="173" y="1252"/>
                  </a:moveTo>
                  <a:lnTo>
                    <a:pt x="245" y="1252"/>
                  </a:lnTo>
                  <a:lnTo>
                    <a:pt x="245" y="1324"/>
                  </a:lnTo>
                  <a:lnTo>
                    <a:pt x="173" y="1324"/>
                  </a:lnTo>
                  <a:lnTo>
                    <a:pt x="173" y="1252"/>
                  </a:lnTo>
                  <a:close/>
                  <a:moveTo>
                    <a:pt x="173" y="1104"/>
                  </a:moveTo>
                  <a:lnTo>
                    <a:pt x="245" y="1104"/>
                  </a:lnTo>
                  <a:lnTo>
                    <a:pt x="245" y="1176"/>
                  </a:lnTo>
                  <a:lnTo>
                    <a:pt x="173" y="1176"/>
                  </a:lnTo>
                  <a:lnTo>
                    <a:pt x="173" y="1104"/>
                  </a:lnTo>
                  <a:close/>
                  <a:moveTo>
                    <a:pt x="173" y="811"/>
                  </a:moveTo>
                  <a:lnTo>
                    <a:pt x="245" y="811"/>
                  </a:lnTo>
                  <a:lnTo>
                    <a:pt x="245" y="883"/>
                  </a:lnTo>
                  <a:lnTo>
                    <a:pt x="173" y="883"/>
                  </a:lnTo>
                  <a:lnTo>
                    <a:pt x="173" y="811"/>
                  </a:lnTo>
                  <a:close/>
                  <a:moveTo>
                    <a:pt x="173" y="662"/>
                  </a:moveTo>
                  <a:lnTo>
                    <a:pt x="245" y="662"/>
                  </a:lnTo>
                  <a:lnTo>
                    <a:pt x="245" y="734"/>
                  </a:lnTo>
                  <a:lnTo>
                    <a:pt x="173" y="734"/>
                  </a:lnTo>
                  <a:lnTo>
                    <a:pt x="173" y="662"/>
                  </a:lnTo>
                  <a:close/>
                  <a:moveTo>
                    <a:pt x="173" y="516"/>
                  </a:moveTo>
                  <a:lnTo>
                    <a:pt x="245" y="516"/>
                  </a:lnTo>
                  <a:lnTo>
                    <a:pt x="245" y="588"/>
                  </a:lnTo>
                  <a:lnTo>
                    <a:pt x="173" y="588"/>
                  </a:lnTo>
                  <a:lnTo>
                    <a:pt x="173" y="516"/>
                  </a:lnTo>
                  <a:close/>
                  <a:moveTo>
                    <a:pt x="173" y="370"/>
                  </a:moveTo>
                  <a:lnTo>
                    <a:pt x="245" y="370"/>
                  </a:lnTo>
                  <a:lnTo>
                    <a:pt x="245" y="442"/>
                  </a:lnTo>
                  <a:lnTo>
                    <a:pt x="173" y="442"/>
                  </a:lnTo>
                  <a:lnTo>
                    <a:pt x="173" y="370"/>
                  </a:lnTo>
                  <a:close/>
                  <a:moveTo>
                    <a:pt x="60" y="1252"/>
                  </a:moveTo>
                  <a:lnTo>
                    <a:pt x="132" y="1252"/>
                  </a:lnTo>
                  <a:lnTo>
                    <a:pt x="132" y="1324"/>
                  </a:lnTo>
                  <a:lnTo>
                    <a:pt x="60" y="1324"/>
                  </a:lnTo>
                  <a:lnTo>
                    <a:pt x="60" y="1252"/>
                  </a:lnTo>
                  <a:close/>
                  <a:moveTo>
                    <a:pt x="60" y="1104"/>
                  </a:moveTo>
                  <a:lnTo>
                    <a:pt x="132" y="1104"/>
                  </a:lnTo>
                  <a:lnTo>
                    <a:pt x="132" y="1176"/>
                  </a:lnTo>
                  <a:lnTo>
                    <a:pt x="60" y="1176"/>
                  </a:lnTo>
                  <a:lnTo>
                    <a:pt x="60" y="1104"/>
                  </a:lnTo>
                  <a:close/>
                  <a:moveTo>
                    <a:pt x="60" y="957"/>
                  </a:moveTo>
                  <a:lnTo>
                    <a:pt x="132" y="957"/>
                  </a:lnTo>
                  <a:lnTo>
                    <a:pt x="132" y="1029"/>
                  </a:lnTo>
                  <a:lnTo>
                    <a:pt x="60" y="1029"/>
                  </a:lnTo>
                  <a:lnTo>
                    <a:pt x="60" y="957"/>
                  </a:lnTo>
                  <a:close/>
                  <a:moveTo>
                    <a:pt x="60" y="811"/>
                  </a:moveTo>
                  <a:lnTo>
                    <a:pt x="132" y="811"/>
                  </a:lnTo>
                  <a:lnTo>
                    <a:pt x="132" y="883"/>
                  </a:lnTo>
                  <a:lnTo>
                    <a:pt x="60" y="883"/>
                  </a:lnTo>
                  <a:lnTo>
                    <a:pt x="60" y="811"/>
                  </a:lnTo>
                  <a:close/>
                  <a:moveTo>
                    <a:pt x="60" y="516"/>
                  </a:moveTo>
                  <a:lnTo>
                    <a:pt x="132" y="516"/>
                  </a:lnTo>
                  <a:lnTo>
                    <a:pt x="132" y="588"/>
                  </a:lnTo>
                  <a:lnTo>
                    <a:pt x="60" y="588"/>
                  </a:lnTo>
                  <a:lnTo>
                    <a:pt x="60" y="5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62" name="í$ḷiďe"/>
            <p:cNvSpPr/>
            <p:nvPr/>
          </p:nvSpPr>
          <p:spPr bwMode="auto">
            <a:xfrm>
              <a:off x="5907088" y="4092575"/>
              <a:ext cx="846138" cy="2030413"/>
            </a:xfrm>
            <a:custGeom>
              <a:avLst/>
              <a:gdLst>
                <a:gd name="T0" fmla="*/ 0 w 533"/>
                <a:gd name="T1" fmla="*/ 224 h 1279"/>
                <a:gd name="T2" fmla="*/ 0 w 533"/>
                <a:gd name="T3" fmla="*/ 1279 h 1279"/>
                <a:gd name="T4" fmla="*/ 533 w 533"/>
                <a:gd name="T5" fmla="*/ 1279 h 1279"/>
                <a:gd name="T6" fmla="*/ 533 w 533"/>
                <a:gd name="T7" fmla="*/ 224 h 1279"/>
                <a:gd name="T8" fmla="*/ 451 w 533"/>
                <a:gd name="T9" fmla="*/ 224 h 1279"/>
                <a:gd name="T10" fmla="*/ 451 w 533"/>
                <a:gd name="T11" fmla="*/ 116 h 1279"/>
                <a:gd name="T12" fmla="*/ 82 w 533"/>
                <a:gd name="T13" fmla="*/ 0 h 1279"/>
                <a:gd name="T14" fmla="*/ 82 w 533"/>
                <a:gd name="T15" fmla="*/ 224 h 1279"/>
                <a:gd name="T16" fmla="*/ 0 w 533"/>
                <a:gd name="T17" fmla="*/ 224 h 1279"/>
                <a:gd name="T18" fmla="*/ 324 w 533"/>
                <a:gd name="T19" fmla="*/ 792 h 1279"/>
                <a:gd name="T20" fmla="*/ 432 w 533"/>
                <a:gd name="T21" fmla="*/ 792 h 1279"/>
                <a:gd name="T22" fmla="*/ 432 w 533"/>
                <a:gd name="T23" fmla="*/ 900 h 1279"/>
                <a:gd name="T24" fmla="*/ 324 w 533"/>
                <a:gd name="T25" fmla="*/ 900 h 1279"/>
                <a:gd name="T26" fmla="*/ 324 w 533"/>
                <a:gd name="T27" fmla="*/ 792 h 1279"/>
                <a:gd name="T28" fmla="*/ 324 w 533"/>
                <a:gd name="T29" fmla="*/ 574 h 1279"/>
                <a:gd name="T30" fmla="*/ 432 w 533"/>
                <a:gd name="T31" fmla="*/ 574 h 1279"/>
                <a:gd name="T32" fmla="*/ 432 w 533"/>
                <a:gd name="T33" fmla="*/ 682 h 1279"/>
                <a:gd name="T34" fmla="*/ 324 w 533"/>
                <a:gd name="T35" fmla="*/ 682 h 1279"/>
                <a:gd name="T36" fmla="*/ 324 w 533"/>
                <a:gd name="T37" fmla="*/ 574 h 1279"/>
                <a:gd name="T38" fmla="*/ 324 w 533"/>
                <a:gd name="T39" fmla="*/ 355 h 1279"/>
                <a:gd name="T40" fmla="*/ 432 w 533"/>
                <a:gd name="T41" fmla="*/ 355 h 1279"/>
                <a:gd name="T42" fmla="*/ 432 w 533"/>
                <a:gd name="T43" fmla="*/ 463 h 1279"/>
                <a:gd name="T44" fmla="*/ 324 w 533"/>
                <a:gd name="T45" fmla="*/ 463 h 1279"/>
                <a:gd name="T46" fmla="*/ 324 w 533"/>
                <a:gd name="T47" fmla="*/ 355 h 1279"/>
                <a:gd name="T48" fmla="*/ 101 w 533"/>
                <a:gd name="T49" fmla="*/ 792 h 1279"/>
                <a:gd name="T50" fmla="*/ 209 w 533"/>
                <a:gd name="T51" fmla="*/ 792 h 1279"/>
                <a:gd name="T52" fmla="*/ 209 w 533"/>
                <a:gd name="T53" fmla="*/ 900 h 1279"/>
                <a:gd name="T54" fmla="*/ 101 w 533"/>
                <a:gd name="T55" fmla="*/ 900 h 1279"/>
                <a:gd name="T56" fmla="*/ 101 w 533"/>
                <a:gd name="T57" fmla="*/ 792 h 1279"/>
                <a:gd name="T58" fmla="*/ 101 w 533"/>
                <a:gd name="T59" fmla="*/ 574 h 1279"/>
                <a:gd name="T60" fmla="*/ 209 w 533"/>
                <a:gd name="T61" fmla="*/ 574 h 1279"/>
                <a:gd name="T62" fmla="*/ 209 w 533"/>
                <a:gd name="T63" fmla="*/ 682 h 1279"/>
                <a:gd name="T64" fmla="*/ 101 w 533"/>
                <a:gd name="T65" fmla="*/ 682 h 1279"/>
                <a:gd name="T66" fmla="*/ 101 w 533"/>
                <a:gd name="T67" fmla="*/ 574 h 1279"/>
                <a:gd name="T68" fmla="*/ 101 w 533"/>
                <a:gd name="T69" fmla="*/ 355 h 1279"/>
                <a:gd name="T70" fmla="*/ 209 w 533"/>
                <a:gd name="T71" fmla="*/ 355 h 1279"/>
                <a:gd name="T72" fmla="*/ 209 w 533"/>
                <a:gd name="T73" fmla="*/ 463 h 1279"/>
                <a:gd name="T74" fmla="*/ 101 w 533"/>
                <a:gd name="T75" fmla="*/ 463 h 1279"/>
                <a:gd name="T76" fmla="*/ 101 w 533"/>
                <a:gd name="T77" fmla="*/ 35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3" h="1279">
                  <a:moveTo>
                    <a:pt x="0" y="224"/>
                  </a:moveTo>
                  <a:lnTo>
                    <a:pt x="0" y="1279"/>
                  </a:lnTo>
                  <a:lnTo>
                    <a:pt x="533" y="1279"/>
                  </a:lnTo>
                  <a:lnTo>
                    <a:pt x="533" y="224"/>
                  </a:lnTo>
                  <a:lnTo>
                    <a:pt x="451" y="224"/>
                  </a:lnTo>
                  <a:lnTo>
                    <a:pt x="451" y="116"/>
                  </a:lnTo>
                  <a:lnTo>
                    <a:pt x="82" y="0"/>
                  </a:lnTo>
                  <a:lnTo>
                    <a:pt x="82" y="224"/>
                  </a:lnTo>
                  <a:lnTo>
                    <a:pt x="0" y="224"/>
                  </a:lnTo>
                  <a:close/>
                  <a:moveTo>
                    <a:pt x="324" y="792"/>
                  </a:moveTo>
                  <a:lnTo>
                    <a:pt x="432" y="792"/>
                  </a:lnTo>
                  <a:lnTo>
                    <a:pt x="432" y="900"/>
                  </a:lnTo>
                  <a:lnTo>
                    <a:pt x="324" y="900"/>
                  </a:lnTo>
                  <a:lnTo>
                    <a:pt x="324" y="792"/>
                  </a:lnTo>
                  <a:close/>
                  <a:moveTo>
                    <a:pt x="324" y="574"/>
                  </a:moveTo>
                  <a:lnTo>
                    <a:pt x="432" y="574"/>
                  </a:lnTo>
                  <a:lnTo>
                    <a:pt x="432" y="682"/>
                  </a:lnTo>
                  <a:lnTo>
                    <a:pt x="324" y="682"/>
                  </a:lnTo>
                  <a:lnTo>
                    <a:pt x="324" y="574"/>
                  </a:lnTo>
                  <a:close/>
                  <a:moveTo>
                    <a:pt x="324" y="355"/>
                  </a:moveTo>
                  <a:lnTo>
                    <a:pt x="432" y="355"/>
                  </a:lnTo>
                  <a:lnTo>
                    <a:pt x="432" y="463"/>
                  </a:lnTo>
                  <a:lnTo>
                    <a:pt x="324" y="463"/>
                  </a:lnTo>
                  <a:lnTo>
                    <a:pt x="324" y="355"/>
                  </a:lnTo>
                  <a:close/>
                  <a:moveTo>
                    <a:pt x="101" y="792"/>
                  </a:moveTo>
                  <a:lnTo>
                    <a:pt x="209" y="792"/>
                  </a:lnTo>
                  <a:lnTo>
                    <a:pt x="209" y="900"/>
                  </a:lnTo>
                  <a:lnTo>
                    <a:pt x="101" y="900"/>
                  </a:lnTo>
                  <a:lnTo>
                    <a:pt x="101" y="792"/>
                  </a:lnTo>
                  <a:close/>
                  <a:moveTo>
                    <a:pt x="101" y="574"/>
                  </a:moveTo>
                  <a:lnTo>
                    <a:pt x="209" y="574"/>
                  </a:lnTo>
                  <a:lnTo>
                    <a:pt x="209" y="682"/>
                  </a:lnTo>
                  <a:lnTo>
                    <a:pt x="101" y="682"/>
                  </a:lnTo>
                  <a:lnTo>
                    <a:pt x="101" y="574"/>
                  </a:lnTo>
                  <a:close/>
                  <a:moveTo>
                    <a:pt x="101" y="355"/>
                  </a:moveTo>
                  <a:lnTo>
                    <a:pt x="209" y="355"/>
                  </a:lnTo>
                  <a:lnTo>
                    <a:pt x="209" y="463"/>
                  </a:lnTo>
                  <a:lnTo>
                    <a:pt x="101" y="463"/>
                  </a:lnTo>
                  <a:lnTo>
                    <a:pt x="101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</p:grpSp>
      <p:grpSp>
        <p:nvGrpSpPr>
          <p:cNvPr id="47" name="isḷidé"/>
          <p:cNvGrpSpPr/>
          <p:nvPr userDrawn="1"/>
        </p:nvGrpSpPr>
        <p:grpSpPr>
          <a:xfrm flipH="1">
            <a:off x="8587607" y="4206928"/>
            <a:ext cx="2807116" cy="1687220"/>
            <a:chOff x="107951" y="2128838"/>
            <a:chExt cx="6645275" cy="399415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8" name="íŝḻïḓè"/>
            <p:cNvSpPr/>
            <p:nvPr/>
          </p:nvSpPr>
          <p:spPr bwMode="auto">
            <a:xfrm>
              <a:off x="1074738" y="3060700"/>
              <a:ext cx="844550" cy="3062288"/>
            </a:xfrm>
            <a:custGeom>
              <a:avLst/>
              <a:gdLst>
                <a:gd name="T0" fmla="*/ 0 w 532"/>
                <a:gd name="T1" fmla="*/ 355 h 1929"/>
                <a:gd name="T2" fmla="*/ 0 w 532"/>
                <a:gd name="T3" fmla="*/ 1929 h 1929"/>
                <a:gd name="T4" fmla="*/ 532 w 532"/>
                <a:gd name="T5" fmla="*/ 1929 h 1929"/>
                <a:gd name="T6" fmla="*/ 532 w 532"/>
                <a:gd name="T7" fmla="*/ 0 h 1929"/>
                <a:gd name="T8" fmla="*/ 0 w 532"/>
                <a:gd name="T9" fmla="*/ 355 h 1929"/>
                <a:gd name="T10" fmla="*/ 69 w 532"/>
                <a:gd name="T11" fmla="*/ 1502 h 1929"/>
                <a:gd name="T12" fmla="*/ 462 w 532"/>
                <a:gd name="T13" fmla="*/ 1502 h 1929"/>
                <a:gd name="T14" fmla="*/ 462 w 532"/>
                <a:gd name="T15" fmla="*/ 1543 h 1929"/>
                <a:gd name="T16" fmla="*/ 69 w 532"/>
                <a:gd name="T17" fmla="*/ 1543 h 1929"/>
                <a:gd name="T18" fmla="*/ 69 w 532"/>
                <a:gd name="T19" fmla="*/ 1502 h 1929"/>
                <a:gd name="T20" fmla="*/ 69 w 532"/>
                <a:gd name="T21" fmla="*/ 1387 h 1929"/>
                <a:gd name="T22" fmla="*/ 462 w 532"/>
                <a:gd name="T23" fmla="*/ 1387 h 1929"/>
                <a:gd name="T24" fmla="*/ 462 w 532"/>
                <a:gd name="T25" fmla="*/ 1428 h 1929"/>
                <a:gd name="T26" fmla="*/ 69 w 532"/>
                <a:gd name="T27" fmla="*/ 1428 h 1929"/>
                <a:gd name="T28" fmla="*/ 69 w 532"/>
                <a:gd name="T29" fmla="*/ 1387 h 1929"/>
                <a:gd name="T30" fmla="*/ 69 w 532"/>
                <a:gd name="T31" fmla="*/ 1272 h 1929"/>
                <a:gd name="T32" fmla="*/ 462 w 532"/>
                <a:gd name="T33" fmla="*/ 1272 h 1929"/>
                <a:gd name="T34" fmla="*/ 462 w 532"/>
                <a:gd name="T35" fmla="*/ 1315 h 1929"/>
                <a:gd name="T36" fmla="*/ 69 w 532"/>
                <a:gd name="T37" fmla="*/ 1315 h 1929"/>
                <a:gd name="T38" fmla="*/ 69 w 532"/>
                <a:gd name="T39" fmla="*/ 1272 h 1929"/>
                <a:gd name="T40" fmla="*/ 69 w 532"/>
                <a:gd name="T41" fmla="*/ 1157 h 1929"/>
                <a:gd name="T42" fmla="*/ 462 w 532"/>
                <a:gd name="T43" fmla="*/ 1157 h 1929"/>
                <a:gd name="T44" fmla="*/ 462 w 532"/>
                <a:gd name="T45" fmla="*/ 1200 h 1929"/>
                <a:gd name="T46" fmla="*/ 69 w 532"/>
                <a:gd name="T47" fmla="*/ 1200 h 1929"/>
                <a:gd name="T48" fmla="*/ 69 w 532"/>
                <a:gd name="T49" fmla="*/ 1157 h 1929"/>
                <a:gd name="T50" fmla="*/ 69 w 532"/>
                <a:gd name="T51" fmla="*/ 1044 h 1929"/>
                <a:gd name="T52" fmla="*/ 462 w 532"/>
                <a:gd name="T53" fmla="*/ 1044 h 1929"/>
                <a:gd name="T54" fmla="*/ 462 w 532"/>
                <a:gd name="T55" fmla="*/ 1085 h 1929"/>
                <a:gd name="T56" fmla="*/ 69 w 532"/>
                <a:gd name="T57" fmla="*/ 1085 h 1929"/>
                <a:gd name="T58" fmla="*/ 69 w 532"/>
                <a:gd name="T59" fmla="*/ 1044 h 1929"/>
                <a:gd name="T60" fmla="*/ 69 w 532"/>
                <a:gd name="T61" fmla="*/ 929 h 1929"/>
                <a:gd name="T62" fmla="*/ 462 w 532"/>
                <a:gd name="T63" fmla="*/ 929 h 1929"/>
                <a:gd name="T64" fmla="*/ 462 w 532"/>
                <a:gd name="T65" fmla="*/ 969 h 1929"/>
                <a:gd name="T66" fmla="*/ 69 w 532"/>
                <a:gd name="T67" fmla="*/ 969 h 1929"/>
                <a:gd name="T68" fmla="*/ 69 w 532"/>
                <a:gd name="T69" fmla="*/ 929 h 1929"/>
                <a:gd name="T70" fmla="*/ 69 w 532"/>
                <a:gd name="T71" fmla="*/ 814 h 1929"/>
                <a:gd name="T72" fmla="*/ 462 w 532"/>
                <a:gd name="T73" fmla="*/ 814 h 1929"/>
                <a:gd name="T74" fmla="*/ 462 w 532"/>
                <a:gd name="T75" fmla="*/ 854 h 1929"/>
                <a:gd name="T76" fmla="*/ 69 w 532"/>
                <a:gd name="T77" fmla="*/ 854 h 1929"/>
                <a:gd name="T78" fmla="*/ 69 w 532"/>
                <a:gd name="T79" fmla="*/ 814 h 1929"/>
                <a:gd name="T80" fmla="*/ 69 w 532"/>
                <a:gd name="T81" fmla="*/ 698 h 1929"/>
                <a:gd name="T82" fmla="*/ 462 w 532"/>
                <a:gd name="T83" fmla="*/ 698 h 1929"/>
                <a:gd name="T84" fmla="*/ 462 w 532"/>
                <a:gd name="T85" fmla="*/ 739 h 1929"/>
                <a:gd name="T86" fmla="*/ 69 w 532"/>
                <a:gd name="T87" fmla="*/ 739 h 1929"/>
                <a:gd name="T88" fmla="*/ 69 w 532"/>
                <a:gd name="T89" fmla="*/ 698 h 1929"/>
                <a:gd name="T90" fmla="*/ 69 w 532"/>
                <a:gd name="T91" fmla="*/ 583 h 1929"/>
                <a:gd name="T92" fmla="*/ 462 w 532"/>
                <a:gd name="T93" fmla="*/ 583 h 1929"/>
                <a:gd name="T94" fmla="*/ 462 w 532"/>
                <a:gd name="T95" fmla="*/ 626 h 1929"/>
                <a:gd name="T96" fmla="*/ 69 w 532"/>
                <a:gd name="T97" fmla="*/ 626 h 1929"/>
                <a:gd name="T98" fmla="*/ 69 w 532"/>
                <a:gd name="T99" fmla="*/ 583 h 1929"/>
                <a:gd name="T100" fmla="*/ 69 w 532"/>
                <a:gd name="T101" fmla="*/ 468 h 1929"/>
                <a:gd name="T102" fmla="*/ 462 w 532"/>
                <a:gd name="T103" fmla="*/ 468 h 1929"/>
                <a:gd name="T104" fmla="*/ 462 w 532"/>
                <a:gd name="T105" fmla="*/ 511 h 1929"/>
                <a:gd name="T106" fmla="*/ 69 w 532"/>
                <a:gd name="T107" fmla="*/ 511 h 1929"/>
                <a:gd name="T108" fmla="*/ 69 w 532"/>
                <a:gd name="T109" fmla="*/ 468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2" h="1929">
                  <a:moveTo>
                    <a:pt x="0" y="355"/>
                  </a:moveTo>
                  <a:lnTo>
                    <a:pt x="0" y="1929"/>
                  </a:lnTo>
                  <a:lnTo>
                    <a:pt x="532" y="1929"/>
                  </a:lnTo>
                  <a:lnTo>
                    <a:pt x="532" y="0"/>
                  </a:lnTo>
                  <a:lnTo>
                    <a:pt x="0" y="355"/>
                  </a:lnTo>
                  <a:close/>
                  <a:moveTo>
                    <a:pt x="69" y="1502"/>
                  </a:moveTo>
                  <a:lnTo>
                    <a:pt x="462" y="1502"/>
                  </a:lnTo>
                  <a:lnTo>
                    <a:pt x="462" y="1543"/>
                  </a:lnTo>
                  <a:lnTo>
                    <a:pt x="69" y="1543"/>
                  </a:lnTo>
                  <a:lnTo>
                    <a:pt x="69" y="1502"/>
                  </a:lnTo>
                  <a:close/>
                  <a:moveTo>
                    <a:pt x="69" y="1387"/>
                  </a:moveTo>
                  <a:lnTo>
                    <a:pt x="462" y="1387"/>
                  </a:lnTo>
                  <a:lnTo>
                    <a:pt x="462" y="1428"/>
                  </a:lnTo>
                  <a:lnTo>
                    <a:pt x="69" y="1428"/>
                  </a:lnTo>
                  <a:lnTo>
                    <a:pt x="69" y="1387"/>
                  </a:lnTo>
                  <a:close/>
                  <a:moveTo>
                    <a:pt x="69" y="1272"/>
                  </a:moveTo>
                  <a:lnTo>
                    <a:pt x="462" y="1272"/>
                  </a:lnTo>
                  <a:lnTo>
                    <a:pt x="462" y="1315"/>
                  </a:lnTo>
                  <a:lnTo>
                    <a:pt x="69" y="1315"/>
                  </a:lnTo>
                  <a:lnTo>
                    <a:pt x="69" y="1272"/>
                  </a:lnTo>
                  <a:close/>
                  <a:moveTo>
                    <a:pt x="69" y="1157"/>
                  </a:moveTo>
                  <a:lnTo>
                    <a:pt x="462" y="1157"/>
                  </a:lnTo>
                  <a:lnTo>
                    <a:pt x="462" y="1200"/>
                  </a:lnTo>
                  <a:lnTo>
                    <a:pt x="69" y="1200"/>
                  </a:lnTo>
                  <a:lnTo>
                    <a:pt x="69" y="1157"/>
                  </a:lnTo>
                  <a:close/>
                  <a:moveTo>
                    <a:pt x="69" y="1044"/>
                  </a:moveTo>
                  <a:lnTo>
                    <a:pt x="462" y="1044"/>
                  </a:lnTo>
                  <a:lnTo>
                    <a:pt x="462" y="1085"/>
                  </a:lnTo>
                  <a:lnTo>
                    <a:pt x="69" y="1085"/>
                  </a:lnTo>
                  <a:lnTo>
                    <a:pt x="69" y="1044"/>
                  </a:lnTo>
                  <a:close/>
                  <a:moveTo>
                    <a:pt x="69" y="929"/>
                  </a:moveTo>
                  <a:lnTo>
                    <a:pt x="462" y="929"/>
                  </a:lnTo>
                  <a:lnTo>
                    <a:pt x="462" y="969"/>
                  </a:lnTo>
                  <a:lnTo>
                    <a:pt x="69" y="969"/>
                  </a:lnTo>
                  <a:lnTo>
                    <a:pt x="69" y="929"/>
                  </a:lnTo>
                  <a:close/>
                  <a:moveTo>
                    <a:pt x="69" y="814"/>
                  </a:moveTo>
                  <a:lnTo>
                    <a:pt x="462" y="814"/>
                  </a:lnTo>
                  <a:lnTo>
                    <a:pt x="462" y="854"/>
                  </a:lnTo>
                  <a:lnTo>
                    <a:pt x="69" y="854"/>
                  </a:lnTo>
                  <a:lnTo>
                    <a:pt x="69" y="814"/>
                  </a:lnTo>
                  <a:close/>
                  <a:moveTo>
                    <a:pt x="69" y="698"/>
                  </a:moveTo>
                  <a:lnTo>
                    <a:pt x="462" y="698"/>
                  </a:lnTo>
                  <a:lnTo>
                    <a:pt x="462" y="739"/>
                  </a:lnTo>
                  <a:lnTo>
                    <a:pt x="69" y="739"/>
                  </a:lnTo>
                  <a:lnTo>
                    <a:pt x="69" y="698"/>
                  </a:lnTo>
                  <a:close/>
                  <a:moveTo>
                    <a:pt x="69" y="583"/>
                  </a:moveTo>
                  <a:lnTo>
                    <a:pt x="462" y="583"/>
                  </a:lnTo>
                  <a:lnTo>
                    <a:pt x="462" y="626"/>
                  </a:lnTo>
                  <a:lnTo>
                    <a:pt x="69" y="626"/>
                  </a:lnTo>
                  <a:lnTo>
                    <a:pt x="69" y="583"/>
                  </a:lnTo>
                  <a:close/>
                  <a:moveTo>
                    <a:pt x="69" y="468"/>
                  </a:moveTo>
                  <a:lnTo>
                    <a:pt x="462" y="468"/>
                  </a:lnTo>
                  <a:lnTo>
                    <a:pt x="462" y="511"/>
                  </a:lnTo>
                  <a:lnTo>
                    <a:pt x="69" y="511"/>
                  </a:lnTo>
                  <a:lnTo>
                    <a:pt x="69" y="4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49" name="iŝļïďe"/>
            <p:cNvSpPr/>
            <p:nvPr/>
          </p:nvSpPr>
          <p:spPr bwMode="auto">
            <a:xfrm>
              <a:off x="107951" y="3571875"/>
              <a:ext cx="844550" cy="2551113"/>
            </a:xfrm>
            <a:custGeom>
              <a:avLst/>
              <a:gdLst>
                <a:gd name="T0" fmla="*/ 0 w 532"/>
                <a:gd name="T1" fmla="*/ 314 h 1607"/>
                <a:gd name="T2" fmla="*/ 0 w 532"/>
                <a:gd name="T3" fmla="*/ 1607 h 1607"/>
                <a:gd name="T4" fmla="*/ 532 w 532"/>
                <a:gd name="T5" fmla="*/ 1607 h 1607"/>
                <a:gd name="T6" fmla="*/ 532 w 532"/>
                <a:gd name="T7" fmla="*/ 314 h 1607"/>
                <a:gd name="T8" fmla="*/ 347 w 532"/>
                <a:gd name="T9" fmla="*/ 314 h 1607"/>
                <a:gd name="T10" fmla="*/ 347 w 532"/>
                <a:gd name="T11" fmla="*/ 192 h 1607"/>
                <a:gd name="T12" fmla="*/ 242 w 532"/>
                <a:gd name="T13" fmla="*/ 192 h 1607"/>
                <a:gd name="T14" fmla="*/ 242 w 532"/>
                <a:gd name="T15" fmla="*/ 314 h 1607"/>
                <a:gd name="T16" fmla="*/ 163 w 532"/>
                <a:gd name="T17" fmla="*/ 314 h 1607"/>
                <a:gd name="T18" fmla="*/ 163 w 532"/>
                <a:gd name="T19" fmla="*/ 0 h 1607"/>
                <a:gd name="T20" fmla="*/ 55 w 532"/>
                <a:gd name="T21" fmla="*/ 0 h 1607"/>
                <a:gd name="T22" fmla="*/ 55 w 532"/>
                <a:gd name="T23" fmla="*/ 314 h 1607"/>
                <a:gd name="T24" fmla="*/ 0 w 532"/>
                <a:gd name="T25" fmla="*/ 314 h 1607"/>
                <a:gd name="T26" fmla="*/ 335 w 532"/>
                <a:gd name="T27" fmla="*/ 1226 h 1607"/>
                <a:gd name="T28" fmla="*/ 438 w 532"/>
                <a:gd name="T29" fmla="*/ 1226 h 1607"/>
                <a:gd name="T30" fmla="*/ 438 w 532"/>
                <a:gd name="T31" fmla="*/ 1329 h 1607"/>
                <a:gd name="T32" fmla="*/ 335 w 532"/>
                <a:gd name="T33" fmla="*/ 1329 h 1607"/>
                <a:gd name="T34" fmla="*/ 335 w 532"/>
                <a:gd name="T35" fmla="*/ 1226 h 1607"/>
                <a:gd name="T36" fmla="*/ 335 w 532"/>
                <a:gd name="T37" fmla="*/ 1034 h 1607"/>
                <a:gd name="T38" fmla="*/ 438 w 532"/>
                <a:gd name="T39" fmla="*/ 1034 h 1607"/>
                <a:gd name="T40" fmla="*/ 438 w 532"/>
                <a:gd name="T41" fmla="*/ 1137 h 1607"/>
                <a:gd name="T42" fmla="*/ 335 w 532"/>
                <a:gd name="T43" fmla="*/ 1137 h 1607"/>
                <a:gd name="T44" fmla="*/ 335 w 532"/>
                <a:gd name="T45" fmla="*/ 1034 h 1607"/>
                <a:gd name="T46" fmla="*/ 335 w 532"/>
                <a:gd name="T47" fmla="*/ 842 h 1607"/>
                <a:gd name="T48" fmla="*/ 438 w 532"/>
                <a:gd name="T49" fmla="*/ 842 h 1607"/>
                <a:gd name="T50" fmla="*/ 438 w 532"/>
                <a:gd name="T51" fmla="*/ 947 h 1607"/>
                <a:gd name="T52" fmla="*/ 335 w 532"/>
                <a:gd name="T53" fmla="*/ 947 h 1607"/>
                <a:gd name="T54" fmla="*/ 335 w 532"/>
                <a:gd name="T55" fmla="*/ 842 h 1607"/>
                <a:gd name="T56" fmla="*/ 335 w 532"/>
                <a:gd name="T57" fmla="*/ 652 h 1607"/>
                <a:gd name="T58" fmla="*/ 438 w 532"/>
                <a:gd name="T59" fmla="*/ 652 h 1607"/>
                <a:gd name="T60" fmla="*/ 438 w 532"/>
                <a:gd name="T61" fmla="*/ 755 h 1607"/>
                <a:gd name="T62" fmla="*/ 335 w 532"/>
                <a:gd name="T63" fmla="*/ 755 h 1607"/>
                <a:gd name="T64" fmla="*/ 335 w 532"/>
                <a:gd name="T65" fmla="*/ 652 h 1607"/>
                <a:gd name="T66" fmla="*/ 335 w 532"/>
                <a:gd name="T67" fmla="*/ 460 h 1607"/>
                <a:gd name="T68" fmla="*/ 438 w 532"/>
                <a:gd name="T69" fmla="*/ 460 h 1607"/>
                <a:gd name="T70" fmla="*/ 438 w 532"/>
                <a:gd name="T71" fmla="*/ 566 h 1607"/>
                <a:gd name="T72" fmla="*/ 335 w 532"/>
                <a:gd name="T73" fmla="*/ 566 h 1607"/>
                <a:gd name="T74" fmla="*/ 335 w 532"/>
                <a:gd name="T75" fmla="*/ 460 h 1607"/>
                <a:gd name="T76" fmla="*/ 93 w 532"/>
                <a:gd name="T77" fmla="*/ 1226 h 1607"/>
                <a:gd name="T78" fmla="*/ 196 w 532"/>
                <a:gd name="T79" fmla="*/ 1226 h 1607"/>
                <a:gd name="T80" fmla="*/ 196 w 532"/>
                <a:gd name="T81" fmla="*/ 1329 h 1607"/>
                <a:gd name="T82" fmla="*/ 93 w 532"/>
                <a:gd name="T83" fmla="*/ 1329 h 1607"/>
                <a:gd name="T84" fmla="*/ 93 w 532"/>
                <a:gd name="T85" fmla="*/ 1226 h 1607"/>
                <a:gd name="T86" fmla="*/ 93 w 532"/>
                <a:gd name="T87" fmla="*/ 1034 h 1607"/>
                <a:gd name="T88" fmla="*/ 196 w 532"/>
                <a:gd name="T89" fmla="*/ 1034 h 1607"/>
                <a:gd name="T90" fmla="*/ 196 w 532"/>
                <a:gd name="T91" fmla="*/ 1137 h 1607"/>
                <a:gd name="T92" fmla="*/ 93 w 532"/>
                <a:gd name="T93" fmla="*/ 1137 h 1607"/>
                <a:gd name="T94" fmla="*/ 93 w 532"/>
                <a:gd name="T95" fmla="*/ 1034 h 1607"/>
                <a:gd name="T96" fmla="*/ 93 w 532"/>
                <a:gd name="T97" fmla="*/ 842 h 1607"/>
                <a:gd name="T98" fmla="*/ 196 w 532"/>
                <a:gd name="T99" fmla="*/ 842 h 1607"/>
                <a:gd name="T100" fmla="*/ 196 w 532"/>
                <a:gd name="T101" fmla="*/ 947 h 1607"/>
                <a:gd name="T102" fmla="*/ 93 w 532"/>
                <a:gd name="T103" fmla="*/ 947 h 1607"/>
                <a:gd name="T104" fmla="*/ 93 w 532"/>
                <a:gd name="T105" fmla="*/ 842 h 1607"/>
                <a:gd name="T106" fmla="*/ 93 w 532"/>
                <a:gd name="T107" fmla="*/ 652 h 1607"/>
                <a:gd name="T108" fmla="*/ 196 w 532"/>
                <a:gd name="T109" fmla="*/ 652 h 1607"/>
                <a:gd name="T110" fmla="*/ 196 w 532"/>
                <a:gd name="T111" fmla="*/ 755 h 1607"/>
                <a:gd name="T112" fmla="*/ 93 w 532"/>
                <a:gd name="T113" fmla="*/ 755 h 1607"/>
                <a:gd name="T114" fmla="*/ 93 w 532"/>
                <a:gd name="T115" fmla="*/ 652 h 1607"/>
                <a:gd name="T116" fmla="*/ 93 w 532"/>
                <a:gd name="T117" fmla="*/ 460 h 1607"/>
                <a:gd name="T118" fmla="*/ 196 w 532"/>
                <a:gd name="T119" fmla="*/ 460 h 1607"/>
                <a:gd name="T120" fmla="*/ 196 w 532"/>
                <a:gd name="T121" fmla="*/ 566 h 1607"/>
                <a:gd name="T122" fmla="*/ 93 w 532"/>
                <a:gd name="T123" fmla="*/ 566 h 1607"/>
                <a:gd name="T124" fmla="*/ 93 w 532"/>
                <a:gd name="T125" fmla="*/ 46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2" h="1607">
                  <a:moveTo>
                    <a:pt x="0" y="314"/>
                  </a:moveTo>
                  <a:lnTo>
                    <a:pt x="0" y="1607"/>
                  </a:lnTo>
                  <a:lnTo>
                    <a:pt x="532" y="1607"/>
                  </a:lnTo>
                  <a:lnTo>
                    <a:pt x="532" y="314"/>
                  </a:lnTo>
                  <a:lnTo>
                    <a:pt x="347" y="314"/>
                  </a:lnTo>
                  <a:lnTo>
                    <a:pt x="347" y="192"/>
                  </a:lnTo>
                  <a:lnTo>
                    <a:pt x="242" y="192"/>
                  </a:lnTo>
                  <a:lnTo>
                    <a:pt x="242" y="314"/>
                  </a:lnTo>
                  <a:lnTo>
                    <a:pt x="163" y="314"/>
                  </a:lnTo>
                  <a:lnTo>
                    <a:pt x="163" y="0"/>
                  </a:lnTo>
                  <a:lnTo>
                    <a:pt x="55" y="0"/>
                  </a:lnTo>
                  <a:lnTo>
                    <a:pt x="55" y="314"/>
                  </a:lnTo>
                  <a:lnTo>
                    <a:pt x="0" y="314"/>
                  </a:lnTo>
                  <a:close/>
                  <a:moveTo>
                    <a:pt x="335" y="1226"/>
                  </a:moveTo>
                  <a:lnTo>
                    <a:pt x="438" y="1226"/>
                  </a:lnTo>
                  <a:lnTo>
                    <a:pt x="438" y="1329"/>
                  </a:lnTo>
                  <a:lnTo>
                    <a:pt x="335" y="1329"/>
                  </a:lnTo>
                  <a:lnTo>
                    <a:pt x="335" y="1226"/>
                  </a:lnTo>
                  <a:close/>
                  <a:moveTo>
                    <a:pt x="335" y="1034"/>
                  </a:moveTo>
                  <a:lnTo>
                    <a:pt x="438" y="1034"/>
                  </a:lnTo>
                  <a:lnTo>
                    <a:pt x="438" y="1137"/>
                  </a:lnTo>
                  <a:lnTo>
                    <a:pt x="335" y="1137"/>
                  </a:lnTo>
                  <a:lnTo>
                    <a:pt x="335" y="1034"/>
                  </a:lnTo>
                  <a:close/>
                  <a:moveTo>
                    <a:pt x="335" y="842"/>
                  </a:moveTo>
                  <a:lnTo>
                    <a:pt x="438" y="842"/>
                  </a:lnTo>
                  <a:lnTo>
                    <a:pt x="438" y="947"/>
                  </a:lnTo>
                  <a:lnTo>
                    <a:pt x="335" y="947"/>
                  </a:lnTo>
                  <a:lnTo>
                    <a:pt x="335" y="842"/>
                  </a:lnTo>
                  <a:close/>
                  <a:moveTo>
                    <a:pt x="335" y="652"/>
                  </a:moveTo>
                  <a:lnTo>
                    <a:pt x="438" y="652"/>
                  </a:lnTo>
                  <a:lnTo>
                    <a:pt x="438" y="755"/>
                  </a:lnTo>
                  <a:lnTo>
                    <a:pt x="335" y="755"/>
                  </a:lnTo>
                  <a:lnTo>
                    <a:pt x="335" y="652"/>
                  </a:lnTo>
                  <a:close/>
                  <a:moveTo>
                    <a:pt x="335" y="460"/>
                  </a:moveTo>
                  <a:lnTo>
                    <a:pt x="438" y="460"/>
                  </a:lnTo>
                  <a:lnTo>
                    <a:pt x="438" y="566"/>
                  </a:lnTo>
                  <a:lnTo>
                    <a:pt x="335" y="566"/>
                  </a:lnTo>
                  <a:lnTo>
                    <a:pt x="335" y="460"/>
                  </a:lnTo>
                  <a:close/>
                  <a:moveTo>
                    <a:pt x="93" y="1226"/>
                  </a:moveTo>
                  <a:lnTo>
                    <a:pt x="196" y="1226"/>
                  </a:lnTo>
                  <a:lnTo>
                    <a:pt x="196" y="1329"/>
                  </a:lnTo>
                  <a:lnTo>
                    <a:pt x="93" y="1329"/>
                  </a:lnTo>
                  <a:lnTo>
                    <a:pt x="93" y="1226"/>
                  </a:lnTo>
                  <a:close/>
                  <a:moveTo>
                    <a:pt x="93" y="1034"/>
                  </a:moveTo>
                  <a:lnTo>
                    <a:pt x="196" y="1034"/>
                  </a:lnTo>
                  <a:lnTo>
                    <a:pt x="196" y="1137"/>
                  </a:lnTo>
                  <a:lnTo>
                    <a:pt x="93" y="1137"/>
                  </a:lnTo>
                  <a:lnTo>
                    <a:pt x="93" y="1034"/>
                  </a:lnTo>
                  <a:close/>
                  <a:moveTo>
                    <a:pt x="93" y="842"/>
                  </a:moveTo>
                  <a:lnTo>
                    <a:pt x="196" y="842"/>
                  </a:lnTo>
                  <a:lnTo>
                    <a:pt x="196" y="947"/>
                  </a:lnTo>
                  <a:lnTo>
                    <a:pt x="93" y="947"/>
                  </a:lnTo>
                  <a:lnTo>
                    <a:pt x="93" y="842"/>
                  </a:lnTo>
                  <a:close/>
                  <a:moveTo>
                    <a:pt x="93" y="652"/>
                  </a:moveTo>
                  <a:lnTo>
                    <a:pt x="196" y="652"/>
                  </a:lnTo>
                  <a:lnTo>
                    <a:pt x="196" y="755"/>
                  </a:lnTo>
                  <a:lnTo>
                    <a:pt x="93" y="755"/>
                  </a:lnTo>
                  <a:lnTo>
                    <a:pt x="93" y="652"/>
                  </a:lnTo>
                  <a:close/>
                  <a:moveTo>
                    <a:pt x="93" y="460"/>
                  </a:moveTo>
                  <a:lnTo>
                    <a:pt x="196" y="460"/>
                  </a:lnTo>
                  <a:lnTo>
                    <a:pt x="196" y="566"/>
                  </a:lnTo>
                  <a:lnTo>
                    <a:pt x="93" y="566"/>
                  </a:lnTo>
                  <a:lnTo>
                    <a:pt x="93" y="4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0" name="işḻîdê"/>
            <p:cNvSpPr/>
            <p:nvPr/>
          </p:nvSpPr>
          <p:spPr bwMode="auto">
            <a:xfrm>
              <a:off x="3008313" y="2128838"/>
              <a:ext cx="844550" cy="3994150"/>
            </a:xfrm>
            <a:custGeom>
              <a:avLst/>
              <a:gdLst>
                <a:gd name="T0" fmla="*/ 0 w 532"/>
                <a:gd name="T1" fmla="*/ 463 h 2516"/>
                <a:gd name="T2" fmla="*/ 0 w 532"/>
                <a:gd name="T3" fmla="*/ 2516 h 2516"/>
                <a:gd name="T4" fmla="*/ 532 w 532"/>
                <a:gd name="T5" fmla="*/ 2516 h 2516"/>
                <a:gd name="T6" fmla="*/ 532 w 532"/>
                <a:gd name="T7" fmla="*/ 463 h 2516"/>
                <a:gd name="T8" fmla="*/ 258 w 532"/>
                <a:gd name="T9" fmla="*/ 0 h 2516"/>
                <a:gd name="T10" fmla="*/ 0 w 532"/>
                <a:gd name="T11" fmla="*/ 463 h 2516"/>
                <a:gd name="T12" fmla="*/ 371 w 532"/>
                <a:gd name="T13" fmla="*/ 1832 h 2516"/>
                <a:gd name="T14" fmla="*/ 443 w 532"/>
                <a:gd name="T15" fmla="*/ 1832 h 2516"/>
                <a:gd name="T16" fmla="*/ 443 w 532"/>
                <a:gd name="T17" fmla="*/ 2139 h 2516"/>
                <a:gd name="T18" fmla="*/ 371 w 532"/>
                <a:gd name="T19" fmla="*/ 2139 h 2516"/>
                <a:gd name="T20" fmla="*/ 371 w 532"/>
                <a:gd name="T21" fmla="*/ 1832 h 2516"/>
                <a:gd name="T22" fmla="*/ 371 w 532"/>
                <a:gd name="T23" fmla="*/ 1432 h 2516"/>
                <a:gd name="T24" fmla="*/ 443 w 532"/>
                <a:gd name="T25" fmla="*/ 1432 h 2516"/>
                <a:gd name="T26" fmla="*/ 443 w 532"/>
                <a:gd name="T27" fmla="*/ 1739 h 2516"/>
                <a:gd name="T28" fmla="*/ 371 w 532"/>
                <a:gd name="T29" fmla="*/ 1739 h 2516"/>
                <a:gd name="T30" fmla="*/ 371 w 532"/>
                <a:gd name="T31" fmla="*/ 1432 h 2516"/>
                <a:gd name="T32" fmla="*/ 371 w 532"/>
                <a:gd name="T33" fmla="*/ 630 h 2516"/>
                <a:gd name="T34" fmla="*/ 443 w 532"/>
                <a:gd name="T35" fmla="*/ 630 h 2516"/>
                <a:gd name="T36" fmla="*/ 443 w 532"/>
                <a:gd name="T37" fmla="*/ 938 h 2516"/>
                <a:gd name="T38" fmla="*/ 371 w 532"/>
                <a:gd name="T39" fmla="*/ 938 h 2516"/>
                <a:gd name="T40" fmla="*/ 371 w 532"/>
                <a:gd name="T41" fmla="*/ 630 h 2516"/>
                <a:gd name="T42" fmla="*/ 230 w 532"/>
                <a:gd name="T43" fmla="*/ 1832 h 2516"/>
                <a:gd name="T44" fmla="*/ 302 w 532"/>
                <a:gd name="T45" fmla="*/ 1832 h 2516"/>
                <a:gd name="T46" fmla="*/ 302 w 532"/>
                <a:gd name="T47" fmla="*/ 2139 h 2516"/>
                <a:gd name="T48" fmla="*/ 230 w 532"/>
                <a:gd name="T49" fmla="*/ 2139 h 2516"/>
                <a:gd name="T50" fmla="*/ 230 w 532"/>
                <a:gd name="T51" fmla="*/ 1832 h 2516"/>
                <a:gd name="T52" fmla="*/ 230 w 532"/>
                <a:gd name="T53" fmla="*/ 1432 h 2516"/>
                <a:gd name="T54" fmla="*/ 302 w 532"/>
                <a:gd name="T55" fmla="*/ 1432 h 2516"/>
                <a:gd name="T56" fmla="*/ 302 w 532"/>
                <a:gd name="T57" fmla="*/ 1739 h 2516"/>
                <a:gd name="T58" fmla="*/ 230 w 532"/>
                <a:gd name="T59" fmla="*/ 1739 h 2516"/>
                <a:gd name="T60" fmla="*/ 230 w 532"/>
                <a:gd name="T61" fmla="*/ 1432 h 2516"/>
                <a:gd name="T62" fmla="*/ 230 w 532"/>
                <a:gd name="T63" fmla="*/ 1031 h 2516"/>
                <a:gd name="T64" fmla="*/ 302 w 532"/>
                <a:gd name="T65" fmla="*/ 1031 h 2516"/>
                <a:gd name="T66" fmla="*/ 302 w 532"/>
                <a:gd name="T67" fmla="*/ 1338 h 2516"/>
                <a:gd name="T68" fmla="*/ 230 w 532"/>
                <a:gd name="T69" fmla="*/ 1338 h 2516"/>
                <a:gd name="T70" fmla="*/ 230 w 532"/>
                <a:gd name="T71" fmla="*/ 1031 h 2516"/>
                <a:gd name="T72" fmla="*/ 230 w 532"/>
                <a:gd name="T73" fmla="*/ 630 h 2516"/>
                <a:gd name="T74" fmla="*/ 302 w 532"/>
                <a:gd name="T75" fmla="*/ 630 h 2516"/>
                <a:gd name="T76" fmla="*/ 302 w 532"/>
                <a:gd name="T77" fmla="*/ 938 h 2516"/>
                <a:gd name="T78" fmla="*/ 230 w 532"/>
                <a:gd name="T79" fmla="*/ 938 h 2516"/>
                <a:gd name="T80" fmla="*/ 230 w 532"/>
                <a:gd name="T81" fmla="*/ 630 h 2516"/>
                <a:gd name="T82" fmla="*/ 88 w 532"/>
                <a:gd name="T83" fmla="*/ 1832 h 2516"/>
                <a:gd name="T84" fmla="*/ 160 w 532"/>
                <a:gd name="T85" fmla="*/ 1832 h 2516"/>
                <a:gd name="T86" fmla="*/ 160 w 532"/>
                <a:gd name="T87" fmla="*/ 2139 h 2516"/>
                <a:gd name="T88" fmla="*/ 88 w 532"/>
                <a:gd name="T89" fmla="*/ 2139 h 2516"/>
                <a:gd name="T90" fmla="*/ 88 w 532"/>
                <a:gd name="T91" fmla="*/ 1832 h 2516"/>
                <a:gd name="T92" fmla="*/ 88 w 532"/>
                <a:gd name="T93" fmla="*/ 1031 h 2516"/>
                <a:gd name="T94" fmla="*/ 160 w 532"/>
                <a:gd name="T95" fmla="*/ 1031 h 2516"/>
                <a:gd name="T96" fmla="*/ 160 w 532"/>
                <a:gd name="T97" fmla="*/ 1338 h 2516"/>
                <a:gd name="T98" fmla="*/ 88 w 532"/>
                <a:gd name="T99" fmla="*/ 1338 h 2516"/>
                <a:gd name="T100" fmla="*/ 88 w 532"/>
                <a:gd name="T101" fmla="*/ 1031 h 2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32" h="2516">
                  <a:moveTo>
                    <a:pt x="0" y="463"/>
                  </a:moveTo>
                  <a:lnTo>
                    <a:pt x="0" y="2516"/>
                  </a:lnTo>
                  <a:lnTo>
                    <a:pt x="532" y="2516"/>
                  </a:lnTo>
                  <a:lnTo>
                    <a:pt x="532" y="463"/>
                  </a:lnTo>
                  <a:lnTo>
                    <a:pt x="258" y="0"/>
                  </a:lnTo>
                  <a:lnTo>
                    <a:pt x="0" y="463"/>
                  </a:lnTo>
                  <a:close/>
                  <a:moveTo>
                    <a:pt x="371" y="1832"/>
                  </a:moveTo>
                  <a:lnTo>
                    <a:pt x="443" y="1832"/>
                  </a:lnTo>
                  <a:lnTo>
                    <a:pt x="443" y="2139"/>
                  </a:lnTo>
                  <a:lnTo>
                    <a:pt x="371" y="2139"/>
                  </a:lnTo>
                  <a:lnTo>
                    <a:pt x="371" y="1832"/>
                  </a:lnTo>
                  <a:close/>
                  <a:moveTo>
                    <a:pt x="371" y="1432"/>
                  </a:moveTo>
                  <a:lnTo>
                    <a:pt x="443" y="1432"/>
                  </a:lnTo>
                  <a:lnTo>
                    <a:pt x="443" y="1739"/>
                  </a:lnTo>
                  <a:lnTo>
                    <a:pt x="371" y="1739"/>
                  </a:lnTo>
                  <a:lnTo>
                    <a:pt x="371" y="1432"/>
                  </a:lnTo>
                  <a:close/>
                  <a:moveTo>
                    <a:pt x="371" y="630"/>
                  </a:moveTo>
                  <a:lnTo>
                    <a:pt x="443" y="630"/>
                  </a:lnTo>
                  <a:lnTo>
                    <a:pt x="443" y="938"/>
                  </a:lnTo>
                  <a:lnTo>
                    <a:pt x="371" y="938"/>
                  </a:lnTo>
                  <a:lnTo>
                    <a:pt x="371" y="630"/>
                  </a:lnTo>
                  <a:close/>
                  <a:moveTo>
                    <a:pt x="230" y="1832"/>
                  </a:moveTo>
                  <a:lnTo>
                    <a:pt x="302" y="1832"/>
                  </a:lnTo>
                  <a:lnTo>
                    <a:pt x="302" y="2139"/>
                  </a:lnTo>
                  <a:lnTo>
                    <a:pt x="230" y="2139"/>
                  </a:lnTo>
                  <a:lnTo>
                    <a:pt x="230" y="1832"/>
                  </a:lnTo>
                  <a:close/>
                  <a:moveTo>
                    <a:pt x="230" y="1432"/>
                  </a:moveTo>
                  <a:lnTo>
                    <a:pt x="302" y="1432"/>
                  </a:lnTo>
                  <a:lnTo>
                    <a:pt x="302" y="1739"/>
                  </a:lnTo>
                  <a:lnTo>
                    <a:pt x="230" y="1739"/>
                  </a:lnTo>
                  <a:lnTo>
                    <a:pt x="230" y="1432"/>
                  </a:lnTo>
                  <a:close/>
                  <a:moveTo>
                    <a:pt x="230" y="1031"/>
                  </a:moveTo>
                  <a:lnTo>
                    <a:pt x="302" y="1031"/>
                  </a:lnTo>
                  <a:lnTo>
                    <a:pt x="302" y="1338"/>
                  </a:lnTo>
                  <a:lnTo>
                    <a:pt x="230" y="1338"/>
                  </a:lnTo>
                  <a:lnTo>
                    <a:pt x="230" y="1031"/>
                  </a:lnTo>
                  <a:close/>
                  <a:moveTo>
                    <a:pt x="230" y="630"/>
                  </a:moveTo>
                  <a:lnTo>
                    <a:pt x="302" y="630"/>
                  </a:lnTo>
                  <a:lnTo>
                    <a:pt x="302" y="938"/>
                  </a:lnTo>
                  <a:lnTo>
                    <a:pt x="230" y="938"/>
                  </a:lnTo>
                  <a:lnTo>
                    <a:pt x="230" y="630"/>
                  </a:lnTo>
                  <a:close/>
                  <a:moveTo>
                    <a:pt x="88" y="1832"/>
                  </a:moveTo>
                  <a:lnTo>
                    <a:pt x="160" y="1832"/>
                  </a:lnTo>
                  <a:lnTo>
                    <a:pt x="160" y="2139"/>
                  </a:lnTo>
                  <a:lnTo>
                    <a:pt x="88" y="2139"/>
                  </a:lnTo>
                  <a:lnTo>
                    <a:pt x="88" y="1832"/>
                  </a:lnTo>
                  <a:close/>
                  <a:moveTo>
                    <a:pt x="88" y="1031"/>
                  </a:moveTo>
                  <a:lnTo>
                    <a:pt x="160" y="1031"/>
                  </a:lnTo>
                  <a:lnTo>
                    <a:pt x="160" y="1338"/>
                  </a:lnTo>
                  <a:lnTo>
                    <a:pt x="88" y="1338"/>
                  </a:lnTo>
                  <a:lnTo>
                    <a:pt x="88" y="10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1" name="îṡḻïḍê"/>
            <p:cNvSpPr/>
            <p:nvPr/>
          </p:nvSpPr>
          <p:spPr bwMode="auto">
            <a:xfrm>
              <a:off x="2041526" y="3784600"/>
              <a:ext cx="844550" cy="2338388"/>
            </a:xfrm>
            <a:custGeom>
              <a:avLst/>
              <a:gdLst>
                <a:gd name="T0" fmla="*/ 0 w 532"/>
                <a:gd name="T1" fmla="*/ 384 h 1473"/>
                <a:gd name="T2" fmla="*/ 0 w 532"/>
                <a:gd name="T3" fmla="*/ 1473 h 1473"/>
                <a:gd name="T4" fmla="*/ 532 w 532"/>
                <a:gd name="T5" fmla="*/ 1473 h 1473"/>
                <a:gd name="T6" fmla="*/ 532 w 532"/>
                <a:gd name="T7" fmla="*/ 384 h 1473"/>
                <a:gd name="T8" fmla="*/ 465 w 532"/>
                <a:gd name="T9" fmla="*/ 384 h 1473"/>
                <a:gd name="T10" fmla="*/ 465 w 532"/>
                <a:gd name="T11" fmla="*/ 283 h 1473"/>
                <a:gd name="T12" fmla="*/ 388 w 532"/>
                <a:gd name="T13" fmla="*/ 283 h 1473"/>
                <a:gd name="T14" fmla="*/ 388 w 532"/>
                <a:gd name="T15" fmla="*/ 0 h 1473"/>
                <a:gd name="T16" fmla="*/ 143 w 532"/>
                <a:gd name="T17" fmla="*/ 0 h 1473"/>
                <a:gd name="T18" fmla="*/ 143 w 532"/>
                <a:gd name="T19" fmla="*/ 283 h 1473"/>
                <a:gd name="T20" fmla="*/ 67 w 532"/>
                <a:gd name="T21" fmla="*/ 283 h 1473"/>
                <a:gd name="T22" fmla="*/ 67 w 532"/>
                <a:gd name="T23" fmla="*/ 384 h 1473"/>
                <a:gd name="T24" fmla="*/ 0 w 532"/>
                <a:gd name="T25" fmla="*/ 384 h 1473"/>
                <a:gd name="T26" fmla="*/ 362 w 532"/>
                <a:gd name="T27" fmla="*/ 1029 h 1473"/>
                <a:gd name="T28" fmla="*/ 457 w 532"/>
                <a:gd name="T29" fmla="*/ 1029 h 1473"/>
                <a:gd name="T30" fmla="*/ 457 w 532"/>
                <a:gd name="T31" fmla="*/ 1137 h 1473"/>
                <a:gd name="T32" fmla="*/ 362 w 532"/>
                <a:gd name="T33" fmla="*/ 1137 h 1473"/>
                <a:gd name="T34" fmla="*/ 362 w 532"/>
                <a:gd name="T35" fmla="*/ 1029 h 1473"/>
                <a:gd name="T36" fmla="*/ 362 w 532"/>
                <a:gd name="T37" fmla="*/ 681 h 1473"/>
                <a:gd name="T38" fmla="*/ 457 w 532"/>
                <a:gd name="T39" fmla="*/ 681 h 1473"/>
                <a:gd name="T40" fmla="*/ 457 w 532"/>
                <a:gd name="T41" fmla="*/ 792 h 1473"/>
                <a:gd name="T42" fmla="*/ 362 w 532"/>
                <a:gd name="T43" fmla="*/ 792 h 1473"/>
                <a:gd name="T44" fmla="*/ 362 w 532"/>
                <a:gd name="T45" fmla="*/ 681 h 1473"/>
                <a:gd name="T46" fmla="*/ 362 w 532"/>
                <a:gd name="T47" fmla="*/ 509 h 1473"/>
                <a:gd name="T48" fmla="*/ 457 w 532"/>
                <a:gd name="T49" fmla="*/ 509 h 1473"/>
                <a:gd name="T50" fmla="*/ 457 w 532"/>
                <a:gd name="T51" fmla="*/ 619 h 1473"/>
                <a:gd name="T52" fmla="*/ 362 w 532"/>
                <a:gd name="T53" fmla="*/ 619 h 1473"/>
                <a:gd name="T54" fmla="*/ 362 w 532"/>
                <a:gd name="T55" fmla="*/ 509 h 1473"/>
                <a:gd name="T56" fmla="*/ 218 w 532"/>
                <a:gd name="T57" fmla="*/ 854 h 1473"/>
                <a:gd name="T58" fmla="*/ 314 w 532"/>
                <a:gd name="T59" fmla="*/ 854 h 1473"/>
                <a:gd name="T60" fmla="*/ 314 w 532"/>
                <a:gd name="T61" fmla="*/ 964 h 1473"/>
                <a:gd name="T62" fmla="*/ 218 w 532"/>
                <a:gd name="T63" fmla="*/ 964 h 1473"/>
                <a:gd name="T64" fmla="*/ 218 w 532"/>
                <a:gd name="T65" fmla="*/ 854 h 1473"/>
                <a:gd name="T66" fmla="*/ 218 w 532"/>
                <a:gd name="T67" fmla="*/ 681 h 1473"/>
                <a:gd name="T68" fmla="*/ 314 w 532"/>
                <a:gd name="T69" fmla="*/ 681 h 1473"/>
                <a:gd name="T70" fmla="*/ 314 w 532"/>
                <a:gd name="T71" fmla="*/ 792 h 1473"/>
                <a:gd name="T72" fmla="*/ 218 w 532"/>
                <a:gd name="T73" fmla="*/ 792 h 1473"/>
                <a:gd name="T74" fmla="*/ 218 w 532"/>
                <a:gd name="T75" fmla="*/ 681 h 1473"/>
                <a:gd name="T76" fmla="*/ 218 w 532"/>
                <a:gd name="T77" fmla="*/ 509 h 1473"/>
                <a:gd name="T78" fmla="*/ 314 w 532"/>
                <a:gd name="T79" fmla="*/ 509 h 1473"/>
                <a:gd name="T80" fmla="*/ 314 w 532"/>
                <a:gd name="T81" fmla="*/ 619 h 1473"/>
                <a:gd name="T82" fmla="*/ 218 w 532"/>
                <a:gd name="T83" fmla="*/ 619 h 1473"/>
                <a:gd name="T84" fmla="*/ 218 w 532"/>
                <a:gd name="T85" fmla="*/ 509 h 1473"/>
                <a:gd name="T86" fmla="*/ 74 w 532"/>
                <a:gd name="T87" fmla="*/ 1029 h 1473"/>
                <a:gd name="T88" fmla="*/ 170 w 532"/>
                <a:gd name="T89" fmla="*/ 1029 h 1473"/>
                <a:gd name="T90" fmla="*/ 170 w 532"/>
                <a:gd name="T91" fmla="*/ 1137 h 1473"/>
                <a:gd name="T92" fmla="*/ 74 w 532"/>
                <a:gd name="T93" fmla="*/ 1137 h 1473"/>
                <a:gd name="T94" fmla="*/ 74 w 532"/>
                <a:gd name="T95" fmla="*/ 1029 h 1473"/>
                <a:gd name="T96" fmla="*/ 74 w 532"/>
                <a:gd name="T97" fmla="*/ 854 h 1473"/>
                <a:gd name="T98" fmla="*/ 170 w 532"/>
                <a:gd name="T99" fmla="*/ 854 h 1473"/>
                <a:gd name="T100" fmla="*/ 170 w 532"/>
                <a:gd name="T101" fmla="*/ 964 h 1473"/>
                <a:gd name="T102" fmla="*/ 74 w 532"/>
                <a:gd name="T103" fmla="*/ 964 h 1473"/>
                <a:gd name="T104" fmla="*/ 74 w 532"/>
                <a:gd name="T105" fmla="*/ 854 h 1473"/>
                <a:gd name="T106" fmla="*/ 74 w 532"/>
                <a:gd name="T107" fmla="*/ 681 h 1473"/>
                <a:gd name="T108" fmla="*/ 170 w 532"/>
                <a:gd name="T109" fmla="*/ 681 h 1473"/>
                <a:gd name="T110" fmla="*/ 170 w 532"/>
                <a:gd name="T111" fmla="*/ 792 h 1473"/>
                <a:gd name="T112" fmla="*/ 74 w 532"/>
                <a:gd name="T113" fmla="*/ 792 h 1473"/>
                <a:gd name="T114" fmla="*/ 74 w 532"/>
                <a:gd name="T115" fmla="*/ 681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2" h="1473">
                  <a:moveTo>
                    <a:pt x="0" y="384"/>
                  </a:moveTo>
                  <a:lnTo>
                    <a:pt x="0" y="1473"/>
                  </a:lnTo>
                  <a:lnTo>
                    <a:pt x="532" y="1473"/>
                  </a:lnTo>
                  <a:lnTo>
                    <a:pt x="532" y="384"/>
                  </a:lnTo>
                  <a:lnTo>
                    <a:pt x="465" y="384"/>
                  </a:lnTo>
                  <a:lnTo>
                    <a:pt x="465" y="283"/>
                  </a:lnTo>
                  <a:lnTo>
                    <a:pt x="388" y="283"/>
                  </a:lnTo>
                  <a:lnTo>
                    <a:pt x="388" y="0"/>
                  </a:lnTo>
                  <a:lnTo>
                    <a:pt x="143" y="0"/>
                  </a:lnTo>
                  <a:lnTo>
                    <a:pt x="143" y="283"/>
                  </a:lnTo>
                  <a:lnTo>
                    <a:pt x="67" y="283"/>
                  </a:lnTo>
                  <a:lnTo>
                    <a:pt x="67" y="384"/>
                  </a:lnTo>
                  <a:lnTo>
                    <a:pt x="0" y="384"/>
                  </a:lnTo>
                  <a:close/>
                  <a:moveTo>
                    <a:pt x="362" y="1029"/>
                  </a:moveTo>
                  <a:lnTo>
                    <a:pt x="457" y="1029"/>
                  </a:lnTo>
                  <a:lnTo>
                    <a:pt x="457" y="1137"/>
                  </a:lnTo>
                  <a:lnTo>
                    <a:pt x="362" y="1137"/>
                  </a:lnTo>
                  <a:lnTo>
                    <a:pt x="362" y="1029"/>
                  </a:lnTo>
                  <a:close/>
                  <a:moveTo>
                    <a:pt x="362" y="681"/>
                  </a:moveTo>
                  <a:lnTo>
                    <a:pt x="457" y="681"/>
                  </a:lnTo>
                  <a:lnTo>
                    <a:pt x="457" y="792"/>
                  </a:lnTo>
                  <a:lnTo>
                    <a:pt x="362" y="792"/>
                  </a:lnTo>
                  <a:lnTo>
                    <a:pt x="362" y="681"/>
                  </a:lnTo>
                  <a:close/>
                  <a:moveTo>
                    <a:pt x="362" y="509"/>
                  </a:moveTo>
                  <a:lnTo>
                    <a:pt x="457" y="509"/>
                  </a:lnTo>
                  <a:lnTo>
                    <a:pt x="457" y="619"/>
                  </a:lnTo>
                  <a:lnTo>
                    <a:pt x="362" y="619"/>
                  </a:lnTo>
                  <a:lnTo>
                    <a:pt x="362" y="509"/>
                  </a:lnTo>
                  <a:close/>
                  <a:moveTo>
                    <a:pt x="218" y="854"/>
                  </a:moveTo>
                  <a:lnTo>
                    <a:pt x="314" y="854"/>
                  </a:lnTo>
                  <a:lnTo>
                    <a:pt x="314" y="964"/>
                  </a:lnTo>
                  <a:lnTo>
                    <a:pt x="218" y="964"/>
                  </a:lnTo>
                  <a:lnTo>
                    <a:pt x="218" y="854"/>
                  </a:lnTo>
                  <a:close/>
                  <a:moveTo>
                    <a:pt x="218" y="681"/>
                  </a:moveTo>
                  <a:lnTo>
                    <a:pt x="314" y="681"/>
                  </a:lnTo>
                  <a:lnTo>
                    <a:pt x="314" y="792"/>
                  </a:lnTo>
                  <a:lnTo>
                    <a:pt x="218" y="792"/>
                  </a:lnTo>
                  <a:lnTo>
                    <a:pt x="218" y="681"/>
                  </a:lnTo>
                  <a:close/>
                  <a:moveTo>
                    <a:pt x="218" y="509"/>
                  </a:moveTo>
                  <a:lnTo>
                    <a:pt x="314" y="509"/>
                  </a:lnTo>
                  <a:lnTo>
                    <a:pt x="314" y="619"/>
                  </a:lnTo>
                  <a:lnTo>
                    <a:pt x="218" y="619"/>
                  </a:lnTo>
                  <a:lnTo>
                    <a:pt x="218" y="509"/>
                  </a:lnTo>
                  <a:close/>
                  <a:moveTo>
                    <a:pt x="74" y="1029"/>
                  </a:moveTo>
                  <a:lnTo>
                    <a:pt x="170" y="1029"/>
                  </a:lnTo>
                  <a:lnTo>
                    <a:pt x="170" y="1137"/>
                  </a:lnTo>
                  <a:lnTo>
                    <a:pt x="74" y="1137"/>
                  </a:lnTo>
                  <a:lnTo>
                    <a:pt x="74" y="1029"/>
                  </a:lnTo>
                  <a:close/>
                  <a:moveTo>
                    <a:pt x="74" y="854"/>
                  </a:moveTo>
                  <a:lnTo>
                    <a:pt x="170" y="854"/>
                  </a:lnTo>
                  <a:lnTo>
                    <a:pt x="170" y="964"/>
                  </a:lnTo>
                  <a:lnTo>
                    <a:pt x="74" y="964"/>
                  </a:lnTo>
                  <a:lnTo>
                    <a:pt x="74" y="854"/>
                  </a:lnTo>
                  <a:close/>
                  <a:moveTo>
                    <a:pt x="74" y="681"/>
                  </a:moveTo>
                  <a:lnTo>
                    <a:pt x="170" y="681"/>
                  </a:lnTo>
                  <a:lnTo>
                    <a:pt x="170" y="792"/>
                  </a:lnTo>
                  <a:lnTo>
                    <a:pt x="74" y="792"/>
                  </a:lnTo>
                  <a:lnTo>
                    <a:pt x="74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2" name="iṧlïḋe"/>
            <p:cNvSpPr/>
            <p:nvPr/>
          </p:nvSpPr>
          <p:spPr bwMode="auto">
            <a:xfrm>
              <a:off x="4940301" y="3128963"/>
              <a:ext cx="846138" cy="2994025"/>
            </a:xfrm>
            <a:custGeom>
              <a:avLst/>
              <a:gdLst>
                <a:gd name="T0" fmla="*/ 0 w 533"/>
                <a:gd name="T1" fmla="*/ 1886 h 1886"/>
                <a:gd name="T2" fmla="*/ 533 w 533"/>
                <a:gd name="T3" fmla="*/ 92 h 1886"/>
                <a:gd name="T4" fmla="*/ 487 w 533"/>
                <a:gd name="T5" fmla="*/ 0 h 1886"/>
                <a:gd name="T6" fmla="*/ 202 w 533"/>
                <a:gd name="T7" fmla="*/ 92 h 1886"/>
                <a:gd name="T8" fmla="*/ 310 w 533"/>
                <a:gd name="T9" fmla="*/ 1466 h 1886"/>
                <a:gd name="T10" fmla="*/ 456 w 533"/>
                <a:gd name="T11" fmla="*/ 1517 h 1886"/>
                <a:gd name="T12" fmla="*/ 310 w 533"/>
                <a:gd name="T13" fmla="*/ 1466 h 1886"/>
                <a:gd name="T14" fmla="*/ 456 w 533"/>
                <a:gd name="T15" fmla="*/ 1346 h 1886"/>
                <a:gd name="T16" fmla="*/ 310 w 533"/>
                <a:gd name="T17" fmla="*/ 1397 h 1886"/>
                <a:gd name="T18" fmla="*/ 310 w 533"/>
                <a:gd name="T19" fmla="*/ 1226 h 1886"/>
                <a:gd name="T20" fmla="*/ 456 w 533"/>
                <a:gd name="T21" fmla="*/ 1277 h 1886"/>
                <a:gd name="T22" fmla="*/ 310 w 533"/>
                <a:gd name="T23" fmla="*/ 1226 h 1886"/>
                <a:gd name="T24" fmla="*/ 456 w 533"/>
                <a:gd name="T25" fmla="*/ 1106 h 1886"/>
                <a:gd name="T26" fmla="*/ 310 w 533"/>
                <a:gd name="T27" fmla="*/ 1157 h 1886"/>
                <a:gd name="T28" fmla="*/ 310 w 533"/>
                <a:gd name="T29" fmla="*/ 866 h 1886"/>
                <a:gd name="T30" fmla="*/ 456 w 533"/>
                <a:gd name="T31" fmla="*/ 917 h 1886"/>
                <a:gd name="T32" fmla="*/ 310 w 533"/>
                <a:gd name="T33" fmla="*/ 866 h 1886"/>
                <a:gd name="T34" fmla="*/ 456 w 533"/>
                <a:gd name="T35" fmla="*/ 747 h 1886"/>
                <a:gd name="T36" fmla="*/ 310 w 533"/>
                <a:gd name="T37" fmla="*/ 797 h 1886"/>
                <a:gd name="T38" fmla="*/ 310 w 533"/>
                <a:gd name="T39" fmla="*/ 627 h 1886"/>
                <a:gd name="T40" fmla="*/ 456 w 533"/>
                <a:gd name="T41" fmla="*/ 677 h 1886"/>
                <a:gd name="T42" fmla="*/ 310 w 533"/>
                <a:gd name="T43" fmla="*/ 627 h 1886"/>
                <a:gd name="T44" fmla="*/ 456 w 533"/>
                <a:gd name="T45" fmla="*/ 507 h 1886"/>
                <a:gd name="T46" fmla="*/ 310 w 533"/>
                <a:gd name="T47" fmla="*/ 557 h 1886"/>
                <a:gd name="T48" fmla="*/ 310 w 533"/>
                <a:gd name="T49" fmla="*/ 267 h 1886"/>
                <a:gd name="T50" fmla="*/ 456 w 533"/>
                <a:gd name="T51" fmla="*/ 317 h 1886"/>
                <a:gd name="T52" fmla="*/ 310 w 533"/>
                <a:gd name="T53" fmla="*/ 267 h 1886"/>
                <a:gd name="T54" fmla="*/ 223 w 533"/>
                <a:gd name="T55" fmla="*/ 1586 h 1886"/>
                <a:gd name="T56" fmla="*/ 77 w 533"/>
                <a:gd name="T57" fmla="*/ 1637 h 1886"/>
                <a:gd name="T58" fmla="*/ 77 w 533"/>
                <a:gd name="T59" fmla="*/ 1466 h 1886"/>
                <a:gd name="T60" fmla="*/ 223 w 533"/>
                <a:gd name="T61" fmla="*/ 1517 h 1886"/>
                <a:gd name="T62" fmla="*/ 77 w 533"/>
                <a:gd name="T63" fmla="*/ 1466 h 1886"/>
                <a:gd name="T64" fmla="*/ 223 w 533"/>
                <a:gd name="T65" fmla="*/ 1226 h 1886"/>
                <a:gd name="T66" fmla="*/ 77 w 533"/>
                <a:gd name="T67" fmla="*/ 1277 h 1886"/>
                <a:gd name="T68" fmla="*/ 77 w 533"/>
                <a:gd name="T69" fmla="*/ 986 h 1886"/>
                <a:gd name="T70" fmla="*/ 223 w 533"/>
                <a:gd name="T71" fmla="*/ 1037 h 1886"/>
                <a:gd name="T72" fmla="*/ 77 w 533"/>
                <a:gd name="T73" fmla="*/ 986 h 1886"/>
                <a:gd name="T74" fmla="*/ 223 w 533"/>
                <a:gd name="T75" fmla="*/ 866 h 1886"/>
                <a:gd name="T76" fmla="*/ 77 w 533"/>
                <a:gd name="T77" fmla="*/ 917 h 1886"/>
                <a:gd name="T78" fmla="*/ 77 w 533"/>
                <a:gd name="T79" fmla="*/ 627 h 1886"/>
                <a:gd name="T80" fmla="*/ 223 w 533"/>
                <a:gd name="T81" fmla="*/ 677 h 1886"/>
                <a:gd name="T82" fmla="*/ 77 w 533"/>
                <a:gd name="T83" fmla="*/ 627 h 1886"/>
                <a:gd name="T84" fmla="*/ 223 w 533"/>
                <a:gd name="T85" fmla="*/ 387 h 1886"/>
                <a:gd name="T86" fmla="*/ 77 w 533"/>
                <a:gd name="T87" fmla="*/ 437 h 1886"/>
                <a:gd name="T88" fmla="*/ 77 w 533"/>
                <a:gd name="T89" fmla="*/ 267 h 1886"/>
                <a:gd name="T90" fmla="*/ 223 w 533"/>
                <a:gd name="T91" fmla="*/ 317 h 1886"/>
                <a:gd name="T92" fmla="*/ 77 w 533"/>
                <a:gd name="T93" fmla="*/ 267 h 1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3" h="1886">
                  <a:moveTo>
                    <a:pt x="0" y="92"/>
                  </a:moveTo>
                  <a:lnTo>
                    <a:pt x="0" y="1886"/>
                  </a:lnTo>
                  <a:lnTo>
                    <a:pt x="533" y="1886"/>
                  </a:lnTo>
                  <a:lnTo>
                    <a:pt x="533" y="92"/>
                  </a:lnTo>
                  <a:lnTo>
                    <a:pt x="487" y="92"/>
                  </a:lnTo>
                  <a:lnTo>
                    <a:pt x="487" y="0"/>
                  </a:lnTo>
                  <a:lnTo>
                    <a:pt x="202" y="0"/>
                  </a:lnTo>
                  <a:lnTo>
                    <a:pt x="202" y="92"/>
                  </a:lnTo>
                  <a:lnTo>
                    <a:pt x="0" y="92"/>
                  </a:lnTo>
                  <a:close/>
                  <a:moveTo>
                    <a:pt x="310" y="1466"/>
                  </a:moveTo>
                  <a:lnTo>
                    <a:pt x="456" y="1466"/>
                  </a:lnTo>
                  <a:lnTo>
                    <a:pt x="456" y="1517"/>
                  </a:lnTo>
                  <a:lnTo>
                    <a:pt x="310" y="1517"/>
                  </a:lnTo>
                  <a:lnTo>
                    <a:pt x="310" y="1466"/>
                  </a:lnTo>
                  <a:close/>
                  <a:moveTo>
                    <a:pt x="310" y="1346"/>
                  </a:moveTo>
                  <a:lnTo>
                    <a:pt x="456" y="1346"/>
                  </a:lnTo>
                  <a:lnTo>
                    <a:pt x="456" y="1397"/>
                  </a:lnTo>
                  <a:lnTo>
                    <a:pt x="310" y="1397"/>
                  </a:lnTo>
                  <a:lnTo>
                    <a:pt x="310" y="1346"/>
                  </a:lnTo>
                  <a:close/>
                  <a:moveTo>
                    <a:pt x="310" y="1226"/>
                  </a:moveTo>
                  <a:lnTo>
                    <a:pt x="456" y="1226"/>
                  </a:lnTo>
                  <a:lnTo>
                    <a:pt x="456" y="1277"/>
                  </a:lnTo>
                  <a:lnTo>
                    <a:pt x="310" y="1277"/>
                  </a:lnTo>
                  <a:lnTo>
                    <a:pt x="310" y="1226"/>
                  </a:lnTo>
                  <a:close/>
                  <a:moveTo>
                    <a:pt x="310" y="1106"/>
                  </a:moveTo>
                  <a:lnTo>
                    <a:pt x="456" y="1106"/>
                  </a:lnTo>
                  <a:lnTo>
                    <a:pt x="456" y="1157"/>
                  </a:lnTo>
                  <a:lnTo>
                    <a:pt x="310" y="1157"/>
                  </a:lnTo>
                  <a:lnTo>
                    <a:pt x="310" y="1106"/>
                  </a:lnTo>
                  <a:close/>
                  <a:moveTo>
                    <a:pt x="310" y="866"/>
                  </a:moveTo>
                  <a:lnTo>
                    <a:pt x="456" y="866"/>
                  </a:lnTo>
                  <a:lnTo>
                    <a:pt x="456" y="917"/>
                  </a:lnTo>
                  <a:lnTo>
                    <a:pt x="310" y="917"/>
                  </a:lnTo>
                  <a:lnTo>
                    <a:pt x="310" y="866"/>
                  </a:lnTo>
                  <a:close/>
                  <a:moveTo>
                    <a:pt x="310" y="747"/>
                  </a:moveTo>
                  <a:lnTo>
                    <a:pt x="456" y="747"/>
                  </a:lnTo>
                  <a:lnTo>
                    <a:pt x="456" y="797"/>
                  </a:lnTo>
                  <a:lnTo>
                    <a:pt x="310" y="797"/>
                  </a:lnTo>
                  <a:lnTo>
                    <a:pt x="310" y="747"/>
                  </a:lnTo>
                  <a:close/>
                  <a:moveTo>
                    <a:pt x="310" y="627"/>
                  </a:moveTo>
                  <a:lnTo>
                    <a:pt x="456" y="627"/>
                  </a:lnTo>
                  <a:lnTo>
                    <a:pt x="456" y="677"/>
                  </a:lnTo>
                  <a:lnTo>
                    <a:pt x="310" y="677"/>
                  </a:lnTo>
                  <a:lnTo>
                    <a:pt x="310" y="627"/>
                  </a:lnTo>
                  <a:close/>
                  <a:moveTo>
                    <a:pt x="310" y="507"/>
                  </a:moveTo>
                  <a:lnTo>
                    <a:pt x="456" y="507"/>
                  </a:lnTo>
                  <a:lnTo>
                    <a:pt x="456" y="557"/>
                  </a:lnTo>
                  <a:lnTo>
                    <a:pt x="310" y="557"/>
                  </a:lnTo>
                  <a:lnTo>
                    <a:pt x="310" y="507"/>
                  </a:lnTo>
                  <a:close/>
                  <a:moveTo>
                    <a:pt x="310" y="267"/>
                  </a:moveTo>
                  <a:lnTo>
                    <a:pt x="456" y="267"/>
                  </a:lnTo>
                  <a:lnTo>
                    <a:pt x="456" y="317"/>
                  </a:lnTo>
                  <a:lnTo>
                    <a:pt x="310" y="317"/>
                  </a:lnTo>
                  <a:lnTo>
                    <a:pt x="310" y="267"/>
                  </a:lnTo>
                  <a:close/>
                  <a:moveTo>
                    <a:pt x="77" y="1586"/>
                  </a:moveTo>
                  <a:lnTo>
                    <a:pt x="223" y="1586"/>
                  </a:lnTo>
                  <a:lnTo>
                    <a:pt x="223" y="1637"/>
                  </a:lnTo>
                  <a:lnTo>
                    <a:pt x="77" y="1637"/>
                  </a:lnTo>
                  <a:lnTo>
                    <a:pt x="77" y="1586"/>
                  </a:lnTo>
                  <a:close/>
                  <a:moveTo>
                    <a:pt x="77" y="1466"/>
                  </a:moveTo>
                  <a:lnTo>
                    <a:pt x="223" y="1466"/>
                  </a:lnTo>
                  <a:lnTo>
                    <a:pt x="223" y="1517"/>
                  </a:lnTo>
                  <a:lnTo>
                    <a:pt x="77" y="1517"/>
                  </a:lnTo>
                  <a:lnTo>
                    <a:pt x="77" y="1466"/>
                  </a:lnTo>
                  <a:close/>
                  <a:moveTo>
                    <a:pt x="77" y="1226"/>
                  </a:moveTo>
                  <a:lnTo>
                    <a:pt x="223" y="1226"/>
                  </a:lnTo>
                  <a:lnTo>
                    <a:pt x="223" y="1277"/>
                  </a:lnTo>
                  <a:lnTo>
                    <a:pt x="77" y="1277"/>
                  </a:lnTo>
                  <a:lnTo>
                    <a:pt x="77" y="1226"/>
                  </a:lnTo>
                  <a:close/>
                  <a:moveTo>
                    <a:pt x="77" y="986"/>
                  </a:moveTo>
                  <a:lnTo>
                    <a:pt x="223" y="986"/>
                  </a:lnTo>
                  <a:lnTo>
                    <a:pt x="223" y="1037"/>
                  </a:lnTo>
                  <a:lnTo>
                    <a:pt x="77" y="1037"/>
                  </a:lnTo>
                  <a:lnTo>
                    <a:pt x="77" y="986"/>
                  </a:lnTo>
                  <a:close/>
                  <a:moveTo>
                    <a:pt x="77" y="866"/>
                  </a:moveTo>
                  <a:lnTo>
                    <a:pt x="223" y="866"/>
                  </a:lnTo>
                  <a:lnTo>
                    <a:pt x="223" y="917"/>
                  </a:lnTo>
                  <a:lnTo>
                    <a:pt x="77" y="917"/>
                  </a:lnTo>
                  <a:lnTo>
                    <a:pt x="77" y="866"/>
                  </a:lnTo>
                  <a:close/>
                  <a:moveTo>
                    <a:pt x="77" y="627"/>
                  </a:moveTo>
                  <a:lnTo>
                    <a:pt x="223" y="627"/>
                  </a:lnTo>
                  <a:lnTo>
                    <a:pt x="223" y="677"/>
                  </a:lnTo>
                  <a:lnTo>
                    <a:pt x="77" y="677"/>
                  </a:lnTo>
                  <a:lnTo>
                    <a:pt x="77" y="627"/>
                  </a:lnTo>
                  <a:close/>
                  <a:moveTo>
                    <a:pt x="77" y="387"/>
                  </a:moveTo>
                  <a:lnTo>
                    <a:pt x="223" y="387"/>
                  </a:lnTo>
                  <a:lnTo>
                    <a:pt x="223" y="437"/>
                  </a:lnTo>
                  <a:lnTo>
                    <a:pt x="77" y="437"/>
                  </a:lnTo>
                  <a:lnTo>
                    <a:pt x="77" y="387"/>
                  </a:lnTo>
                  <a:close/>
                  <a:moveTo>
                    <a:pt x="77" y="267"/>
                  </a:moveTo>
                  <a:lnTo>
                    <a:pt x="223" y="267"/>
                  </a:lnTo>
                  <a:lnTo>
                    <a:pt x="223" y="317"/>
                  </a:lnTo>
                  <a:lnTo>
                    <a:pt x="77" y="317"/>
                  </a:lnTo>
                  <a:lnTo>
                    <a:pt x="7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3" name="íS1ïďe"/>
            <p:cNvSpPr/>
            <p:nvPr/>
          </p:nvSpPr>
          <p:spPr bwMode="auto">
            <a:xfrm>
              <a:off x="3973513" y="3460750"/>
              <a:ext cx="846138" cy="2662238"/>
            </a:xfrm>
            <a:custGeom>
              <a:avLst/>
              <a:gdLst>
                <a:gd name="T0" fmla="*/ 0 w 533"/>
                <a:gd name="T1" fmla="*/ 1677 h 1677"/>
                <a:gd name="T2" fmla="*/ 533 w 533"/>
                <a:gd name="T3" fmla="*/ 204 h 1677"/>
                <a:gd name="T4" fmla="*/ 437 w 533"/>
                <a:gd name="T5" fmla="*/ 0 h 1677"/>
                <a:gd name="T6" fmla="*/ 329 w 533"/>
                <a:gd name="T7" fmla="*/ 204 h 1677"/>
                <a:gd name="T8" fmla="*/ 401 w 533"/>
                <a:gd name="T9" fmla="*/ 1252 h 1677"/>
                <a:gd name="T10" fmla="*/ 473 w 533"/>
                <a:gd name="T11" fmla="*/ 1324 h 1677"/>
                <a:gd name="T12" fmla="*/ 401 w 533"/>
                <a:gd name="T13" fmla="*/ 1252 h 1677"/>
                <a:gd name="T14" fmla="*/ 473 w 533"/>
                <a:gd name="T15" fmla="*/ 1104 h 1677"/>
                <a:gd name="T16" fmla="*/ 401 w 533"/>
                <a:gd name="T17" fmla="*/ 1176 h 1677"/>
                <a:gd name="T18" fmla="*/ 401 w 533"/>
                <a:gd name="T19" fmla="*/ 957 h 1677"/>
                <a:gd name="T20" fmla="*/ 473 w 533"/>
                <a:gd name="T21" fmla="*/ 1029 h 1677"/>
                <a:gd name="T22" fmla="*/ 401 w 533"/>
                <a:gd name="T23" fmla="*/ 957 h 1677"/>
                <a:gd name="T24" fmla="*/ 473 w 533"/>
                <a:gd name="T25" fmla="*/ 811 h 1677"/>
                <a:gd name="T26" fmla="*/ 401 w 533"/>
                <a:gd name="T27" fmla="*/ 883 h 1677"/>
                <a:gd name="T28" fmla="*/ 401 w 533"/>
                <a:gd name="T29" fmla="*/ 662 h 1677"/>
                <a:gd name="T30" fmla="*/ 473 w 533"/>
                <a:gd name="T31" fmla="*/ 734 h 1677"/>
                <a:gd name="T32" fmla="*/ 401 w 533"/>
                <a:gd name="T33" fmla="*/ 662 h 1677"/>
                <a:gd name="T34" fmla="*/ 473 w 533"/>
                <a:gd name="T35" fmla="*/ 516 h 1677"/>
                <a:gd name="T36" fmla="*/ 401 w 533"/>
                <a:gd name="T37" fmla="*/ 588 h 1677"/>
                <a:gd name="T38" fmla="*/ 288 w 533"/>
                <a:gd name="T39" fmla="*/ 1104 h 1677"/>
                <a:gd name="T40" fmla="*/ 360 w 533"/>
                <a:gd name="T41" fmla="*/ 1176 h 1677"/>
                <a:gd name="T42" fmla="*/ 288 w 533"/>
                <a:gd name="T43" fmla="*/ 1104 h 1677"/>
                <a:gd name="T44" fmla="*/ 360 w 533"/>
                <a:gd name="T45" fmla="*/ 957 h 1677"/>
                <a:gd name="T46" fmla="*/ 288 w 533"/>
                <a:gd name="T47" fmla="*/ 1029 h 1677"/>
                <a:gd name="T48" fmla="*/ 288 w 533"/>
                <a:gd name="T49" fmla="*/ 662 h 1677"/>
                <a:gd name="T50" fmla="*/ 360 w 533"/>
                <a:gd name="T51" fmla="*/ 734 h 1677"/>
                <a:gd name="T52" fmla="*/ 288 w 533"/>
                <a:gd name="T53" fmla="*/ 662 h 1677"/>
                <a:gd name="T54" fmla="*/ 360 w 533"/>
                <a:gd name="T55" fmla="*/ 516 h 1677"/>
                <a:gd name="T56" fmla="*/ 288 w 533"/>
                <a:gd name="T57" fmla="*/ 588 h 1677"/>
                <a:gd name="T58" fmla="*/ 288 w 533"/>
                <a:gd name="T59" fmla="*/ 370 h 1677"/>
                <a:gd name="T60" fmla="*/ 360 w 533"/>
                <a:gd name="T61" fmla="*/ 442 h 1677"/>
                <a:gd name="T62" fmla="*/ 288 w 533"/>
                <a:gd name="T63" fmla="*/ 370 h 1677"/>
                <a:gd name="T64" fmla="*/ 245 w 533"/>
                <a:gd name="T65" fmla="*/ 1252 h 1677"/>
                <a:gd name="T66" fmla="*/ 173 w 533"/>
                <a:gd name="T67" fmla="*/ 1324 h 1677"/>
                <a:gd name="T68" fmla="*/ 173 w 533"/>
                <a:gd name="T69" fmla="*/ 1104 h 1677"/>
                <a:gd name="T70" fmla="*/ 245 w 533"/>
                <a:gd name="T71" fmla="*/ 1176 h 1677"/>
                <a:gd name="T72" fmla="*/ 173 w 533"/>
                <a:gd name="T73" fmla="*/ 1104 h 1677"/>
                <a:gd name="T74" fmla="*/ 245 w 533"/>
                <a:gd name="T75" fmla="*/ 811 h 1677"/>
                <a:gd name="T76" fmla="*/ 173 w 533"/>
                <a:gd name="T77" fmla="*/ 883 h 1677"/>
                <a:gd name="T78" fmla="*/ 173 w 533"/>
                <a:gd name="T79" fmla="*/ 662 h 1677"/>
                <a:gd name="T80" fmla="*/ 245 w 533"/>
                <a:gd name="T81" fmla="*/ 734 h 1677"/>
                <a:gd name="T82" fmla="*/ 173 w 533"/>
                <a:gd name="T83" fmla="*/ 662 h 1677"/>
                <a:gd name="T84" fmla="*/ 245 w 533"/>
                <a:gd name="T85" fmla="*/ 516 h 1677"/>
                <a:gd name="T86" fmla="*/ 173 w 533"/>
                <a:gd name="T87" fmla="*/ 588 h 1677"/>
                <a:gd name="T88" fmla="*/ 173 w 533"/>
                <a:gd name="T89" fmla="*/ 370 h 1677"/>
                <a:gd name="T90" fmla="*/ 245 w 533"/>
                <a:gd name="T91" fmla="*/ 442 h 1677"/>
                <a:gd name="T92" fmla="*/ 173 w 533"/>
                <a:gd name="T93" fmla="*/ 370 h 1677"/>
                <a:gd name="T94" fmla="*/ 132 w 533"/>
                <a:gd name="T95" fmla="*/ 1252 h 1677"/>
                <a:gd name="T96" fmla="*/ 60 w 533"/>
                <a:gd name="T97" fmla="*/ 1324 h 1677"/>
                <a:gd name="T98" fmla="*/ 60 w 533"/>
                <a:gd name="T99" fmla="*/ 1104 h 1677"/>
                <a:gd name="T100" fmla="*/ 132 w 533"/>
                <a:gd name="T101" fmla="*/ 1176 h 1677"/>
                <a:gd name="T102" fmla="*/ 60 w 533"/>
                <a:gd name="T103" fmla="*/ 1104 h 1677"/>
                <a:gd name="T104" fmla="*/ 132 w 533"/>
                <a:gd name="T105" fmla="*/ 957 h 1677"/>
                <a:gd name="T106" fmla="*/ 60 w 533"/>
                <a:gd name="T107" fmla="*/ 1029 h 1677"/>
                <a:gd name="T108" fmla="*/ 60 w 533"/>
                <a:gd name="T109" fmla="*/ 811 h 1677"/>
                <a:gd name="T110" fmla="*/ 132 w 533"/>
                <a:gd name="T111" fmla="*/ 883 h 1677"/>
                <a:gd name="T112" fmla="*/ 60 w 533"/>
                <a:gd name="T113" fmla="*/ 811 h 1677"/>
                <a:gd name="T114" fmla="*/ 132 w 533"/>
                <a:gd name="T115" fmla="*/ 516 h 1677"/>
                <a:gd name="T116" fmla="*/ 60 w 533"/>
                <a:gd name="T117" fmla="*/ 588 h 1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1677">
                  <a:moveTo>
                    <a:pt x="0" y="204"/>
                  </a:moveTo>
                  <a:lnTo>
                    <a:pt x="0" y="1677"/>
                  </a:lnTo>
                  <a:lnTo>
                    <a:pt x="533" y="1677"/>
                  </a:lnTo>
                  <a:lnTo>
                    <a:pt x="533" y="204"/>
                  </a:lnTo>
                  <a:lnTo>
                    <a:pt x="437" y="204"/>
                  </a:lnTo>
                  <a:lnTo>
                    <a:pt x="437" y="0"/>
                  </a:lnTo>
                  <a:lnTo>
                    <a:pt x="329" y="0"/>
                  </a:lnTo>
                  <a:lnTo>
                    <a:pt x="329" y="204"/>
                  </a:lnTo>
                  <a:lnTo>
                    <a:pt x="0" y="204"/>
                  </a:lnTo>
                  <a:close/>
                  <a:moveTo>
                    <a:pt x="401" y="1252"/>
                  </a:moveTo>
                  <a:lnTo>
                    <a:pt x="473" y="1252"/>
                  </a:lnTo>
                  <a:lnTo>
                    <a:pt x="473" y="1324"/>
                  </a:lnTo>
                  <a:lnTo>
                    <a:pt x="401" y="1324"/>
                  </a:lnTo>
                  <a:lnTo>
                    <a:pt x="401" y="1252"/>
                  </a:lnTo>
                  <a:close/>
                  <a:moveTo>
                    <a:pt x="401" y="1104"/>
                  </a:moveTo>
                  <a:lnTo>
                    <a:pt x="473" y="1104"/>
                  </a:lnTo>
                  <a:lnTo>
                    <a:pt x="473" y="1176"/>
                  </a:lnTo>
                  <a:lnTo>
                    <a:pt x="401" y="1176"/>
                  </a:lnTo>
                  <a:lnTo>
                    <a:pt x="401" y="1104"/>
                  </a:lnTo>
                  <a:close/>
                  <a:moveTo>
                    <a:pt x="401" y="957"/>
                  </a:moveTo>
                  <a:lnTo>
                    <a:pt x="473" y="957"/>
                  </a:lnTo>
                  <a:lnTo>
                    <a:pt x="473" y="1029"/>
                  </a:lnTo>
                  <a:lnTo>
                    <a:pt x="401" y="1029"/>
                  </a:lnTo>
                  <a:lnTo>
                    <a:pt x="401" y="957"/>
                  </a:lnTo>
                  <a:close/>
                  <a:moveTo>
                    <a:pt x="401" y="811"/>
                  </a:moveTo>
                  <a:lnTo>
                    <a:pt x="473" y="811"/>
                  </a:lnTo>
                  <a:lnTo>
                    <a:pt x="473" y="883"/>
                  </a:lnTo>
                  <a:lnTo>
                    <a:pt x="401" y="883"/>
                  </a:lnTo>
                  <a:lnTo>
                    <a:pt x="401" y="811"/>
                  </a:lnTo>
                  <a:close/>
                  <a:moveTo>
                    <a:pt x="401" y="662"/>
                  </a:moveTo>
                  <a:lnTo>
                    <a:pt x="473" y="662"/>
                  </a:lnTo>
                  <a:lnTo>
                    <a:pt x="473" y="734"/>
                  </a:lnTo>
                  <a:lnTo>
                    <a:pt x="401" y="734"/>
                  </a:lnTo>
                  <a:lnTo>
                    <a:pt x="401" y="662"/>
                  </a:lnTo>
                  <a:close/>
                  <a:moveTo>
                    <a:pt x="401" y="516"/>
                  </a:moveTo>
                  <a:lnTo>
                    <a:pt x="473" y="516"/>
                  </a:lnTo>
                  <a:lnTo>
                    <a:pt x="473" y="588"/>
                  </a:lnTo>
                  <a:lnTo>
                    <a:pt x="401" y="588"/>
                  </a:lnTo>
                  <a:lnTo>
                    <a:pt x="401" y="516"/>
                  </a:lnTo>
                  <a:close/>
                  <a:moveTo>
                    <a:pt x="288" y="1104"/>
                  </a:moveTo>
                  <a:lnTo>
                    <a:pt x="360" y="1104"/>
                  </a:lnTo>
                  <a:lnTo>
                    <a:pt x="360" y="1176"/>
                  </a:lnTo>
                  <a:lnTo>
                    <a:pt x="288" y="1176"/>
                  </a:lnTo>
                  <a:lnTo>
                    <a:pt x="288" y="1104"/>
                  </a:lnTo>
                  <a:close/>
                  <a:moveTo>
                    <a:pt x="288" y="957"/>
                  </a:moveTo>
                  <a:lnTo>
                    <a:pt x="360" y="957"/>
                  </a:lnTo>
                  <a:lnTo>
                    <a:pt x="360" y="1029"/>
                  </a:lnTo>
                  <a:lnTo>
                    <a:pt x="288" y="1029"/>
                  </a:lnTo>
                  <a:lnTo>
                    <a:pt x="288" y="957"/>
                  </a:lnTo>
                  <a:close/>
                  <a:moveTo>
                    <a:pt x="288" y="662"/>
                  </a:moveTo>
                  <a:lnTo>
                    <a:pt x="360" y="662"/>
                  </a:lnTo>
                  <a:lnTo>
                    <a:pt x="360" y="734"/>
                  </a:lnTo>
                  <a:lnTo>
                    <a:pt x="288" y="734"/>
                  </a:lnTo>
                  <a:lnTo>
                    <a:pt x="288" y="662"/>
                  </a:lnTo>
                  <a:close/>
                  <a:moveTo>
                    <a:pt x="288" y="516"/>
                  </a:moveTo>
                  <a:lnTo>
                    <a:pt x="360" y="516"/>
                  </a:lnTo>
                  <a:lnTo>
                    <a:pt x="360" y="588"/>
                  </a:lnTo>
                  <a:lnTo>
                    <a:pt x="288" y="588"/>
                  </a:lnTo>
                  <a:lnTo>
                    <a:pt x="288" y="516"/>
                  </a:lnTo>
                  <a:close/>
                  <a:moveTo>
                    <a:pt x="288" y="370"/>
                  </a:moveTo>
                  <a:lnTo>
                    <a:pt x="360" y="370"/>
                  </a:lnTo>
                  <a:lnTo>
                    <a:pt x="360" y="442"/>
                  </a:lnTo>
                  <a:lnTo>
                    <a:pt x="288" y="442"/>
                  </a:lnTo>
                  <a:lnTo>
                    <a:pt x="288" y="370"/>
                  </a:lnTo>
                  <a:close/>
                  <a:moveTo>
                    <a:pt x="173" y="1252"/>
                  </a:moveTo>
                  <a:lnTo>
                    <a:pt x="245" y="1252"/>
                  </a:lnTo>
                  <a:lnTo>
                    <a:pt x="245" y="1324"/>
                  </a:lnTo>
                  <a:lnTo>
                    <a:pt x="173" y="1324"/>
                  </a:lnTo>
                  <a:lnTo>
                    <a:pt x="173" y="1252"/>
                  </a:lnTo>
                  <a:close/>
                  <a:moveTo>
                    <a:pt x="173" y="1104"/>
                  </a:moveTo>
                  <a:lnTo>
                    <a:pt x="245" y="1104"/>
                  </a:lnTo>
                  <a:lnTo>
                    <a:pt x="245" y="1176"/>
                  </a:lnTo>
                  <a:lnTo>
                    <a:pt x="173" y="1176"/>
                  </a:lnTo>
                  <a:lnTo>
                    <a:pt x="173" y="1104"/>
                  </a:lnTo>
                  <a:close/>
                  <a:moveTo>
                    <a:pt x="173" y="811"/>
                  </a:moveTo>
                  <a:lnTo>
                    <a:pt x="245" y="811"/>
                  </a:lnTo>
                  <a:lnTo>
                    <a:pt x="245" y="883"/>
                  </a:lnTo>
                  <a:lnTo>
                    <a:pt x="173" y="883"/>
                  </a:lnTo>
                  <a:lnTo>
                    <a:pt x="173" y="811"/>
                  </a:lnTo>
                  <a:close/>
                  <a:moveTo>
                    <a:pt x="173" y="662"/>
                  </a:moveTo>
                  <a:lnTo>
                    <a:pt x="245" y="662"/>
                  </a:lnTo>
                  <a:lnTo>
                    <a:pt x="245" y="734"/>
                  </a:lnTo>
                  <a:lnTo>
                    <a:pt x="173" y="734"/>
                  </a:lnTo>
                  <a:lnTo>
                    <a:pt x="173" y="662"/>
                  </a:lnTo>
                  <a:close/>
                  <a:moveTo>
                    <a:pt x="173" y="516"/>
                  </a:moveTo>
                  <a:lnTo>
                    <a:pt x="245" y="516"/>
                  </a:lnTo>
                  <a:lnTo>
                    <a:pt x="245" y="588"/>
                  </a:lnTo>
                  <a:lnTo>
                    <a:pt x="173" y="588"/>
                  </a:lnTo>
                  <a:lnTo>
                    <a:pt x="173" y="516"/>
                  </a:lnTo>
                  <a:close/>
                  <a:moveTo>
                    <a:pt x="173" y="370"/>
                  </a:moveTo>
                  <a:lnTo>
                    <a:pt x="245" y="370"/>
                  </a:lnTo>
                  <a:lnTo>
                    <a:pt x="245" y="442"/>
                  </a:lnTo>
                  <a:lnTo>
                    <a:pt x="173" y="442"/>
                  </a:lnTo>
                  <a:lnTo>
                    <a:pt x="173" y="370"/>
                  </a:lnTo>
                  <a:close/>
                  <a:moveTo>
                    <a:pt x="60" y="1252"/>
                  </a:moveTo>
                  <a:lnTo>
                    <a:pt x="132" y="1252"/>
                  </a:lnTo>
                  <a:lnTo>
                    <a:pt x="132" y="1324"/>
                  </a:lnTo>
                  <a:lnTo>
                    <a:pt x="60" y="1324"/>
                  </a:lnTo>
                  <a:lnTo>
                    <a:pt x="60" y="1252"/>
                  </a:lnTo>
                  <a:close/>
                  <a:moveTo>
                    <a:pt x="60" y="1104"/>
                  </a:moveTo>
                  <a:lnTo>
                    <a:pt x="132" y="1104"/>
                  </a:lnTo>
                  <a:lnTo>
                    <a:pt x="132" y="1176"/>
                  </a:lnTo>
                  <a:lnTo>
                    <a:pt x="60" y="1176"/>
                  </a:lnTo>
                  <a:lnTo>
                    <a:pt x="60" y="1104"/>
                  </a:lnTo>
                  <a:close/>
                  <a:moveTo>
                    <a:pt x="60" y="957"/>
                  </a:moveTo>
                  <a:lnTo>
                    <a:pt x="132" y="957"/>
                  </a:lnTo>
                  <a:lnTo>
                    <a:pt x="132" y="1029"/>
                  </a:lnTo>
                  <a:lnTo>
                    <a:pt x="60" y="1029"/>
                  </a:lnTo>
                  <a:lnTo>
                    <a:pt x="60" y="957"/>
                  </a:lnTo>
                  <a:close/>
                  <a:moveTo>
                    <a:pt x="60" y="811"/>
                  </a:moveTo>
                  <a:lnTo>
                    <a:pt x="132" y="811"/>
                  </a:lnTo>
                  <a:lnTo>
                    <a:pt x="132" y="883"/>
                  </a:lnTo>
                  <a:lnTo>
                    <a:pt x="60" y="883"/>
                  </a:lnTo>
                  <a:lnTo>
                    <a:pt x="60" y="811"/>
                  </a:lnTo>
                  <a:close/>
                  <a:moveTo>
                    <a:pt x="60" y="516"/>
                  </a:moveTo>
                  <a:lnTo>
                    <a:pt x="132" y="516"/>
                  </a:lnTo>
                  <a:lnTo>
                    <a:pt x="132" y="588"/>
                  </a:lnTo>
                  <a:lnTo>
                    <a:pt x="60" y="588"/>
                  </a:lnTo>
                  <a:lnTo>
                    <a:pt x="60" y="5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4" name="í$ḷiďe"/>
            <p:cNvSpPr/>
            <p:nvPr/>
          </p:nvSpPr>
          <p:spPr bwMode="auto">
            <a:xfrm>
              <a:off x="5907088" y="4092575"/>
              <a:ext cx="846138" cy="2030413"/>
            </a:xfrm>
            <a:custGeom>
              <a:avLst/>
              <a:gdLst>
                <a:gd name="T0" fmla="*/ 0 w 533"/>
                <a:gd name="T1" fmla="*/ 224 h 1279"/>
                <a:gd name="T2" fmla="*/ 0 w 533"/>
                <a:gd name="T3" fmla="*/ 1279 h 1279"/>
                <a:gd name="T4" fmla="*/ 533 w 533"/>
                <a:gd name="T5" fmla="*/ 1279 h 1279"/>
                <a:gd name="T6" fmla="*/ 533 w 533"/>
                <a:gd name="T7" fmla="*/ 224 h 1279"/>
                <a:gd name="T8" fmla="*/ 451 w 533"/>
                <a:gd name="T9" fmla="*/ 224 h 1279"/>
                <a:gd name="T10" fmla="*/ 451 w 533"/>
                <a:gd name="T11" fmla="*/ 116 h 1279"/>
                <a:gd name="T12" fmla="*/ 82 w 533"/>
                <a:gd name="T13" fmla="*/ 0 h 1279"/>
                <a:gd name="T14" fmla="*/ 82 w 533"/>
                <a:gd name="T15" fmla="*/ 224 h 1279"/>
                <a:gd name="T16" fmla="*/ 0 w 533"/>
                <a:gd name="T17" fmla="*/ 224 h 1279"/>
                <a:gd name="T18" fmla="*/ 324 w 533"/>
                <a:gd name="T19" fmla="*/ 792 h 1279"/>
                <a:gd name="T20" fmla="*/ 432 w 533"/>
                <a:gd name="T21" fmla="*/ 792 h 1279"/>
                <a:gd name="T22" fmla="*/ 432 w 533"/>
                <a:gd name="T23" fmla="*/ 900 h 1279"/>
                <a:gd name="T24" fmla="*/ 324 w 533"/>
                <a:gd name="T25" fmla="*/ 900 h 1279"/>
                <a:gd name="T26" fmla="*/ 324 w 533"/>
                <a:gd name="T27" fmla="*/ 792 h 1279"/>
                <a:gd name="T28" fmla="*/ 324 w 533"/>
                <a:gd name="T29" fmla="*/ 574 h 1279"/>
                <a:gd name="T30" fmla="*/ 432 w 533"/>
                <a:gd name="T31" fmla="*/ 574 h 1279"/>
                <a:gd name="T32" fmla="*/ 432 w 533"/>
                <a:gd name="T33" fmla="*/ 682 h 1279"/>
                <a:gd name="T34" fmla="*/ 324 w 533"/>
                <a:gd name="T35" fmla="*/ 682 h 1279"/>
                <a:gd name="T36" fmla="*/ 324 w 533"/>
                <a:gd name="T37" fmla="*/ 574 h 1279"/>
                <a:gd name="T38" fmla="*/ 324 w 533"/>
                <a:gd name="T39" fmla="*/ 355 h 1279"/>
                <a:gd name="T40" fmla="*/ 432 w 533"/>
                <a:gd name="T41" fmla="*/ 355 h 1279"/>
                <a:gd name="T42" fmla="*/ 432 w 533"/>
                <a:gd name="T43" fmla="*/ 463 h 1279"/>
                <a:gd name="T44" fmla="*/ 324 w 533"/>
                <a:gd name="T45" fmla="*/ 463 h 1279"/>
                <a:gd name="T46" fmla="*/ 324 w 533"/>
                <a:gd name="T47" fmla="*/ 355 h 1279"/>
                <a:gd name="T48" fmla="*/ 101 w 533"/>
                <a:gd name="T49" fmla="*/ 792 h 1279"/>
                <a:gd name="T50" fmla="*/ 209 w 533"/>
                <a:gd name="T51" fmla="*/ 792 h 1279"/>
                <a:gd name="T52" fmla="*/ 209 w 533"/>
                <a:gd name="T53" fmla="*/ 900 h 1279"/>
                <a:gd name="T54" fmla="*/ 101 w 533"/>
                <a:gd name="T55" fmla="*/ 900 h 1279"/>
                <a:gd name="T56" fmla="*/ 101 w 533"/>
                <a:gd name="T57" fmla="*/ 792 h 1279"/>
                <a:gd name="T58" fmla="*/ 101 w 533"/>
                <a:gd name="T59" fmla="*/ 574 h 1279"/>
                <a:gd name="T60" fmla="*/ 209 w 533"/>
                <a:gd name="T61" fmla="*/ 574 h 1279"/>
                <a:gd name="T62" fmla="*/ 209 w 533"/>
                <a:gd name="T63" fmla="*/ 682 h 1279"/>
                <a:gd name="T64" fmla="*/ 101 w 533"/>
                <a:gd name="T65" fmla="*/ 682 h 1279"/>
                <a:gd name="T66" fmla="*/ 101 w 533"/>
                <a:gd name="T67" fmla="*/ 574 h 1279"/>
                <a:gd name="T68" fmla="*/ 101 w 533"/>
                <a:gd name="T69" fmla="*/ 355 h 1279"/>
                <a:gd name="T70" fmla="*/ 209 w 533"/>
                <a:gd name="T71" fmla="*/ 355 h 1279"/>
                <a:gd name="T72" fmla="*/ 209 w 533"/>
                <a:gd name="T73" fmla="*/ 463 h 1279"/>
                <a:gd name="T74" fmla="*/ 101 w 533"/>
                <a:gd name="T75" fmla="*/ 463 h 1279"/>
                <a:gd name="T76" fmla="*/ 101 w 533"/>
                <a:gd name="T77" fmla="*/ 35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3" h="1279">
                  <a:moveTo>
                    <a:pt x="0" y="224"/>
                  </a:moveTo>
                  <a:lnTo>
                    <a:pt x="0" y="1279"/>
                  </a:lnTo>
                  <a:lnTo>
                    <a:pt x="533" y="1279"/>
                  </a:lnTo>
                  <a:lnTo>
                    <a:pt x="533" y="224"/>
                  </a:lnTo>
                  <a:lnTo>
                    <a:pt x="451" y="224"/>
                  </a:lnTo>
                  <a:lnTo>
                    <a:pt x="451" y="116"/>
                  </a:lnTo>
                  <a:lnTo>
                    <a:pt x="82" y="0"/>
                  </a:lnTo>
                  <a:lnTo>
                    <a:pt x="82" y="224"/>
                  </a:lnTo>
                  <a:lnTo>
                    <a:pt x="0" y="224"/>
                  </a:lnTo>
                  <a:close/>
                  <a:moveTo>
                    <a:pt x="324" y="792"/>
                  </a:moveTo>
                  <a:lnTo>
                    <a:pt x="432" y="792"/>
                  </a:lnTo>
                  <a:lnTo>
                    <a:pt x="432" y="900"/>
                  </a:lnTo>
                  <a:lnTo>
                    <a:pt x="324" y="900"/>
                  </a:lnTo>
                  <a:lnTo>
                    <a:pt x="324" y="792"/>
                  </a:lnTo>
                  <a:close/>
                  <a:moveTo>
                    <a:pt x="324" y="574"/>
                  </a:moveTo>
                  <a:lnTo>
                    <a:pt x="432" y="574"/>
                  </a:lnTo>
                  <a:lnTo>
                    <a:pt x="432" y="682"/>
                  </a:lnTo>
                  <a:lnTo>
                    <a:pt x="324" y="682"/>
                  </a:lnTo>
                  <a:lnTo>
                    <a:pt x="324" y="574"/>
                  </a:lnTo>
                  <a:close/>
                  <a:moveTo>
                    <a:pt x="324" y="355"/>
                  </a:moveTo>
                  <a:lnTo>
                    <a:pt x="432" y="355"/>
                  </a:lnTo>
                  <a:lnTo>
                    <a:pt x="432" y="463"/>
                  </a:lnTo>
                  <a:lnTo>
                    <a:pt x="324" y="463"/>
                  </a:lnTo>
                  <a:lnTo>
                    <a:pt x="324" y="355"/>
                  </a:lnTo>
                  <a:close/>
                  <a:moveTo>
                    <a:pt x="101" y="792"/>
                  </a:moveTo>
                  <a:lnTo>
                    <a:pt x="209" y="792"/>
                  </a:lnTo>
                  <a:lnTo>
                    <a:pt x="209" y="900"/>
                  </a:lnTo>
                  <a:lnTo>
                    <a:pt x="101" y="900"/>
                  </a:lnTo>
                  <a:lnTo>
                    <a:pt x="101" y="792"/>
                  </a:lnTo>
                  <a:close/>
                  <a:moveTo>
                    <a:pt x="101" y="574"/>
                  </a:moveTo>
                  <a:lnTo>
                    <a:pt x="209" y="574"/>
                  </a:lnTo>
                  <a:lnTo>
                    <a:pt x="209" y="682"/>
                  </a:lnTo>
                  <a:lnTo>
                    <a:pt x="101" y="682"/>
                  </a:lnTo>
                  <a:lnTo>
                    <a:pt x="101" y="574"/>
                  </a:lnTo>
                  <a:close/>
                  <a:moveTo>
                    <a:pt x="101" y="355"/>
                  </a:moveTo>
                  <a:lnTo>
                    <a:pt x="209" y="355"/>
                  </a:lnTo>
                  <a:lnTo>
                    <a:pt x="209" y="463"/>
                  </a:lnTo>
                  <a:lnTo>
                    <a:pt x="101" y="463"/>
                  </a:lnTo>
                  <a:lnTo>
                    <a:pt x="101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</p:grpSp>
      <p:pic>
        <p:nvPicPr>
          <p:cNvPr id="63" name="图片 6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6016" y="2681513"/>
            <a:ext cx="7854120" cy="3212635"/>
          </a:xfrm>
          <a:prstGeom prst="rect">
            <a:avLst/>
          </a:prstGeom>
        </p:spPr>
      </p:pic>
      <p:sp>
        <p:nvSpPr>
          <p:cNvPr id="41" name="îslîḋê"/>
          <p:cNvSpPr/>
          <p:nvPr userDrawn="1"/>
        </p:nvSpPr>
        <p:spPr bwMode="auto">
          <a:xfrm>
            <a:off x="4762" y="5042646"/>
            <a:ext cx="12187237" cy="1807323"/>
          </a:xfrm>
          <a:custGeom>
            <a:avLst/>
            <a:gdLst>
              <a:gd name="T0" fmla="*/ 0 w 3200"/>
              <a:gd name="T1" fmla="*/ 129 h 391"/>
              <a:gd name="T2" fmla="*/ 3200 w 3200"/>
              <a:gd name="T3" fmla="*/ 0 h 391"/>
              <a:gd name="T4" fmla="*/ 3200 w 3200"/>
              <a:gd name="T5" fmla="*/ 268 h 391"/>
              <a:gd name="T6" fmla="*/ 0 w 3200"/>
              <a:gd name="T7" fmla="*/ 264 h 391"/>
              <a:gd name="T8" fmla="*/ 0 w 3200"/>
              <a:gd name="T9" fmla="*/ 129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391">
                <a:moveTo>
                  <a:pt x="0" y="129"/>
                </a:moveTo>
                <a:cubicBezTo>
                  <a:pt x="217" y="129"/>
                  <a:pt x="2396" y="272"/>
                  <a:pt x="3200" y="0"/>
                </a:cubicBezTo>
                <a:cubicBezTo>
                  <a:pt x="3200" y="391"/>
                  <a:pt x="3200" y="268"/>
                  <a:pt x="3200" y="268"/>
                </a:cubicBezTo>
                <a:cubicBezTo>
                  <a:pt x="0" y="264"/>
                  <a:pt x="0" y="264"/>
                  <a:pt x="0" y="264"/>
                </a:cubicBezTo>
                <a:lnTo>
                  <a:pt x="0" y="129"/>
                </a:lnTo>
                <a:close/>
              </a:path>
            </a:pathLst>
          </a:custGeom>
          <a:solidFill>
            <a:srgbClr val="89CE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ru-RU"/>
          </a:p>
        </p:txBody>
      </p:sp>
      <p:sp>
        <p:nvSpPr>
          <p:cNvPr id="42" name="iṥliḍè"/>
          <p:cNvSpPr/>
          <p:nvPr userDrawn="1"/>
        </p:nvSpPr>
        <p:spPr bwMode="auto">
          <a:xfrm>
            <a:off x="4762" y="4796935"/>
            <a:ext cx="12187237" cy="2066481"/>
          </a:xfrm>
          <a:custGeom>
            <a:avLst/>
            <a:gdLst>
              <a:gd name="T0" fmla="*/ 3200 w 3200"/>
              <a:gd name="T1" fmla="*/ 331 h 465"/>
              <a:gd name="T2" fmla="*/ 0 w 3200"/>
              <a:gd name="T3" fmla="*/ 0 h 465"/>
              <a:gd name="T4" fmla="*/ 0 w 3200"/>
              <a:gd name="T5" fmla="*/ 465 h 465"/>
              <a:gd name="T6" fmla="*/ 3200 w 3200"/>
              <a:gd name="T7" fmla="*/ 465 h 465"/>
              <a:gd name="T8" fmla="*/ 3200 w 3200"/>
              <a:gd name="T9" fmla="*/ 331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465">
                <a:moveTo>
                  <a:pt x="3200" y="331"/>
                </a:moveTo>
                <a:cubicBezTo>
                  <a:pt x="2983" y="331"/>
                  <a:pt x="804" y="273"/>
                  <a:pt x="0" y="0"/>
                </a:cubicBezTo>
                <a:cubicBezTo>
                  <a:pt x="0" y="392"/>
                  <a:pt x="0" y="465"/>
                  <a:pt x="0" y="465"/>
                </a:cubicBezTo>
                <a:cubicBezTo>
                  <a:pt x="3200" y="465"/>
                  <a:pt x="3200" y="465"/>
                  <a:pt x="3200" y="465"/>
                </a:cubicBezTo>
                <a:lnTo>
                  <a:pt x="3200" y="331"/>
                </a:lnTo>
                <a:close/>
              </a:path>
            </a:pathLst>
          </a:custGeom>
          <a:solidFill>
            <a:srgbClr val="1E43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A025F-33B2-434B-885A-8BF7F7270811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651ED-F004-41EA-9B08-A5F1C91CF24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A025F-33B2-434B-885A-8BF7F7270811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651ED-F004-41EA-9B08-A5F1C91CF24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A025F-33B2-434B-885A-8BF7F7270811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651ED-F004-41EA-9B08-A5F1C91CF24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A025F-33B2-434B-885A-8BF7F7270811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651ED-F004-41EA-9B08-A5F1C91CF24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A025F-33B2-434B-885A-8BF7F7270811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651ED-F004-41EA-9B08-A5F1C91CF24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isḷidé"/>
          <p:cNvGrpSpPr/>
          <p:nvPr userDrawn="1"/>
        </p:nvGrpSpPr>
        <p:grpSpPr>
          <a:xfrm flipH="1">
            <a:off x="1140660" y="4191481"/>
            <a:ext cx="2807116" cy="1456619"/>
            <a:chOff x="107951" y="2128838"/>
            <a:chExt cx="6645275" cy="399415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56" name="íŝḻïḓè"/>
            <p:cNvSpPr/>
            <p:nvPr/>
          </p:nvSpPr>
          <p:spPr bwMode="auto">
            <a:xfrm>
              <a:off x="1074738" y="3060700"/>
              <a:ext cx="844550" cy="3062288"/>
            </a:xfrm>
            <a:custGeom>
              <a:avLst/>
              <a:gdLst>
                <a:gd name="T0" fmla="*/ 0 w 532"/>
                <a:gd name="T1" fmla="*/ 355 h 1929"/>
                <a:gd name="T2" fmla="*/ 0 w 532"/>
                <a:gd name="T3" fmla="*/ 1929 h 1929"/>
                <a:gd name="T4" fmla="*/ 532 w 532"/>
                <a:gd name="T5" fmla="*/ 1929 h 1929"/>
                <a:gd name="T6" fmla="*/ 532 w 532"/>
                <a:gd name="T7" fmla="*/ 0 h 1929"/>
                <a:gd name="T8" fmla="*/ 0 w 532"/>
                <a:gd name="T9" fmla="*/ 355 h 1929"/>
                <a:gd name="T10" fmla="*/ 69 w 532"/>
                <a:gd name="T11" fmla="*/ 1502 h 1929"/>
                <a:gd name="T12" fmla="*/ 462 w 532"/>
                <a:gd name="T13" fmla="*/ 1502 h 1929"/>
                <a:gd name="T14" fmla="*/ 462 w 532"/>
                <a:gd name="T15" fmla="*/ 1543 h 1929"/>
                <a:gd name="T16" fmla="*/ 69 w 532"/>
                <a:gd name="T17" fmla="*/ 1543 h 1929"/>
                <a:gd name="T18" fmla="*/ 69 w 532"/>
                <a:gd name="T19" fmla="*/ 1502 h 1929"/>
                <a:gd name="T20" fmla="*/ 69 w 532"/>
                <a:gd name="T21" fmla="*/ 1387 h 1929"/>
                <a:gd name="T22" fmla="*/ 462 w 532"/>
                <a:gd name="T23" fmla="*/ 1387 h 1929"/>
                <a:gd name="T24" fmla="*/ 462 w 532"/>
                <a:gd name="T25" fmla="*/ 1428 h 1929"/>
                <a:gd name="T26" fmla="*/ 69 w 532"/>
                <a:gd name="T27" fmla="*/ 1428 h 1929"/>
                <a:gd name="T28" fmla="*/ 69 w 532"/>
                <a:gd name="T29" fmla="*/ 1387 h 1929"/>
                <a:gd name="T30" fmla="*/ 69 w 532"/>
                <a:gd name="T31" fmla="*/ 1272 h 1929"/>
                <a:gd name="T32" fmla="*/ 462 w 532"/>
                <a:gd name="T33" fmla="*/ 1272 h 1929"/>
                <a:gd name="T34" fmla="*/ 462 w 532"/>
                <a:gd name="T35" fmla="*/ 1315 h 1929"/>
                <a:gd name="T36" fmla="*/ 69 w 532"/>
                <a:gd name="T37" fmla="*/ 1315 h 1929"/>
                <a:gd name="T38" fmla="*/ 69 w 532"/>
                <a:gd name="T39" fmla="*/ 1272 h 1929"/>
                <a:gd name="T40" fmla="*/ 69 w 532"/>
                <a:gd name="T41" fmla="*/ 1157 h 1929"/>
                <a:gd name="T42" fmla="*/ 462 w 532"/>
                <a:gd name="T43" fmla="*/ 1157 h 1929"/>
                <a:gd name="T44" fmla="*/ 462 w 532"/>
                <a:gd name="T45" fmla="*/ 1200 h 1929"/>
                <a:gd name="T46" fmla="*/ 69 w 532"/>
                <a:gd name="T47" fmla="*/ 1200 h 1929"/>
                <a:gd name="T48" fmla="*/ 69 w 532"/>
                <a:gd name="T49" fmla="*/ 1157 h 1929"/>
                <a:gd name="T50" fmla="*/ 69 w 532"/>
                <a:gd name="T51" fmla="*/ 1044 h 1929"/>
                <a:gd name="T52" fmla="*/ 462 w 532"/>
                <a:gd name="T53" fmla="*/ 1044 h 1929"/>
                <a:gd name="T54" fmla="*/ 462 w 532"/>
                <a:gd name="T55" fmla="*/ 1085 h 1929"/>
                <a:gd name="T56" fmla="*/ 69 w 532"/>
                <a:gd name="T57" fmla="*/ 1085 h 1929"/>
                <a:gd name="T58" fmla="*/ 69 w 532"/>
                <a:gd name="T59" fmla="*/ 1044 h 1929"/>
                <a:gd name="T60" fmla="*/ 69 w 532"/>
                <a:gd name="T61" fmla="*/ 929 h 1929"/>
                <a:gd name="T62" fmla="*/ 462 w 532"/>
                <a:gd name="T63" fmla="*/ 929 h 1929"/>
                <a:gd name="T64" fmla="*/ 462 w 532"/>
                <a:gd name="T65" fmla="*/ 969 h 1929"/>
                <a:gd name="T66" fmla="*/ 69 w 532"/>
                <a:gd name="T67" fmla="*/ 969 h 1929"/>
                <a:gd name="T68" fmla="*/ 69 w 532"/>
                <a:gd name="T69" fmla="*/ 929 h 1929"/>
                <a:gd name="T70" fmla="*/ 69 w 532"/>
                <a:gd name="T71" fmla="*/ 814 h 1929"/>
                <a:gd name="T72" fmla="*/ 462 w 532"/>
                <a:gd name="T73" fmla="*/ 814 h 1929"/>
                <a:gd name="T74" fmla="*/ 462 w 532"/>
                <a:gd name="T75" fmla="*/ 854 h 1929"/>
                <a:gd name="T76" fmla="*/ 69 w 532"/>
                <a:gd name="T77" fmla="*/ 854 h 1929"/>
                <a:gd name="T78" fmla="*/ 69 w 532"/>
                <a:gd name="T79" fmla="*/ 814 h 1929"/>
                <a:gd name="T80" fmla="*/ 69 w 532"/>
                <a:gd name="T81" fmla="*/ 698 h 1929"/>
                <a:gd name="T82" fmla="*/ 462 w 532"/>
                <a:gd name="T83" fmla="*/ 698 h 1929"/>
                <a:gd name="T84" fmla="*/ 462 w 532"/>
                <a:gd name="T85" fmla="*/ 739 h 1929"/>
                <a:gd name="T86" fmla="*/ 69 w 532"/>
                <a:gd name="T87" fmla="*/ 739 h 1929"/>
                <a:gd name="T88" fmla="*/ 69 w 532"/>
                <a:gd name="T89" fmla="*/ 698 h 1929"/>
                <a:gd name="T90" fmla="*/ 69 w 532"/>
                <a:gd name="T91" fmla="*/ 583 h 1929"/>
                <a:gd name="T92" fmla="*/ 462 w 532"/>
                <a:gd name="T93" fmla="*/ 583 h 1929"/>
                <a:gd name="T94" fmla="*/ 462 w 532"/>
                <a:gd name="T95" fmla="*/ 626 h 1929"/>
                <a:gd name="T96" fmla="*/ 69 w 532"/>
                <a:gd name="T97" fmla="*/ 626 h 1929"/>
                <a:gd name="T98" fmla="*/ 69 w 532"/>
                <a:gd name="T99" fmla="*/ 583 h 1929"/>
                <a:gd name="T100" fmla="*/ 69 w 532"/>
                <a:gd name="T101" fmla="*/ 468 h 1929"/>
                <a:gd name="T102" fmla="*/ 462 w 532"/>
                <a:gd name="T103" fmla="*/ 468 h 1929"/>
                <a:gd name="T104" fmla="*/ 462 w 532"/>
                <a:gd name="T105" fmla="*/ 511 h 1929"/>
                <a:gd name="T106" fmla="*/ 69 w 532"/>
                <a:gd name="T107" fmla="*/ 511 h 1929"/>
                <a:gd name="T108" fmla="*/ 69 w 532"/>
                <a:gd name="T109" fmla="*/ 468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2" h="1929">
                  <a:moveTo>
                    <a:pt x="0" y="355"/>
                  </a:moveTo>
                  <a:lnTo>
                    <a:pt x="0" y="1929"/>
                  </a:lnTo>
                  <a:lnTo>
                    <a:pt x="532" y="1929"/>
                  </a:lnTo>
                  <a:lnTo>
                    <a:pt x="532" y="0"/>
                  </a:lnTo>
                  <a:lnTo>
                    <a:pt x="0" y="355"/>
                  </a:lnTo>
                  <a:close/>
                  <a:moveTo>
                    <a:pt x="69" y="1502"/>
                  </a:moveTo>
                  <a:lnTo>
                    <a:pt x="462" y="1502"/>
                  </a:lnTo>
                  <a:lnTo>
                    <a:pt x="462" y="1543"/>
                  </a:lnTo>
                  <a:lnTo>
                    <a:pt x="69" y="1543"/>
                  </a:lnTo>
                  <a:lnTo>
                    <a:pt x="69" y="1502"/>
                  </a:lnTo>
                  <a:close/>
                  <a:moveTo>
                    <a:pt x="69" y="1387"/>
                  </a:moveTo>
                  <a:lnTo>
                    <a:pt x="462" y="1387"/>
                  </a:lnTo>
                  <a:lnTo>
                    <a:pt x="462" y="1428"/>
                  </a:lnTo>
                  <a:lnTo>
                    <a:pt x="69" y="1428"/>
                  </a:lnTo>
                  <a:lnTo>
                    <a:pt x="69" y="1387"/>
                  </a:lnTo>
                  <a:close/>
                  <a:moveTo>
                    <a:pt x="69" y="1272"/>
                  </a:moveTo>
                  <a:lnTo>
                    <a:pt x="462" y="1272"/>
                  </a:lnTo>
                  <a:lnTo>
                    <a:pt x="462" y="1315"/>
                  </a:lnTo>
                  <a:lnTo>
                    <a:pt x="69" y="1315"/>
                  </a:lnTo>
                  <a:lnTo>
                    <a:pt x="69" y="1272"/>
                  </a:lnTo>
                  <a:close/>
                  <a:moveTo>
                    <a:pt x="69" y="1157"/>
                  </a:moveTo>
                  <a:lnTo>
                    <a:pt x="462" y="1157"/>
                  </a:lnTo>
                  <a:lnTo>
                    <a:pt x="462" y="1200"/>
                  </a:lnTo>
                  <a:lnTo>
                    <a:pt x="69" y="1200"/>
                  </a:lnTo>
                  <a:lnTo>
                    <a:pt x="69" y="1157"/>
                  </a:lnTo>
                  <a:close/>
                  <a:moveTo>
                    <a:pt x="69" y="1044"/>
                  </a:moveTo>
                  <a:lnTo>
                    <a:pt x="462" y="1044"/>
                  </a:lnTo>
                  <a:lnTo>
                    <a:pt x="462" y="1085"/>
                  </a:lnTo>
                  <a:lnTo>
                    <a:pt x="69" y="1085"/>
                  </a:lnTo>
                  <a:lnTo>
                    <a:pt x="69" y="1044"/>
                  </a:lnTo>
                  <a:close/>
                  <a:moveTo>
                    <a:pt x="69" y="929"/>
                  </a:moveTo>
                  <a:lnTo>
                    <a:pt x="462" y="929"/>
                  </a:lnTo>
                  <a:lnTo>
                    <a:pt x="462" y="969"/>
                  </a:lnTo>
                  <a:lnTo>
                    <a:pt x="69" y="969"/>
                  </a:lnTo>
                  <a:lnTo>
                    <a:pt x="69" y="929"/>
                  </a:lnTo>
                  <a:close/>
                  <a:moveTo>
                    <a:pt x="69" y="814"/>
                  </a:moveTo>
                  <a:lnTo>
                    <a:pt x="462" y="814"/>
                  </a:lnTo>
                  <a:lnTo>
                    <a:pt x="462" y="854"/>
                  </a:lnTo>
                  <a:lnTo>
                    <a:pt x="69" y="854"/>
                  </a:lnTo>
                  <a:lnTo>
                    <a:pt x="69" y="814"/>
                  </a:lnTo>
                  <a:close/>
                  <a:moveTo>
                    <a:pt x="69" y="698"/>
                  </a:moveTo>
                  <a:lnTo>
                    <a:pt x="462" y="698"/>
                  </a:lnTo>
                  <a:lnTo>
                    <a:pt x="462" y="739"/>
                  </a:lnTo>
                  <a:lnTo>
                    <a:pt x="69" y="739"/>
                  </a:lnTo>
                  <a:lnTo>
                    <a:pt x="69" y="698"/>
                  </a:lnTo>
                  <a:close/>
                  <a:moveTo>
                    <a:pt x="69" y="583"/>
                  </a:moveTo>
                  <a:lnTo>
                    <a:pt x="462" y="583"/>
                  </a:lnTo>
                  <a:lnTo>
                    <a:pt x="462" y="626"/>
                  </a:lnTo>
                  <a:lnTo>
                    <a:pt x="69" y="626"/>
                  </a:lnTo>
                  <a:lnTo>
                    <a:pt x="69" y="583"/>
                  </a:lnTo>
                  <a:close/>
                  <a:moveTo>
                    <a:pt x="69" y="468"/>
                  </a:moveTo>
                  <a:lnTo>
                    <a:pt x="462" y="468"/>
                  </a:lnTo>
                  <a:lnTo>
                    <a:pt x="462" y="511"/>
                  </a:lnTo>
                  <a:lnTo>
                    <a:pt x="69" y="511"/>
                  </a:lnTo>
                  <a:lnTo>
                    <a:pt x="69" y="4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7" name="iŝļïďe"/>
            <p:cNvSpPr/>
            <p:nvPr/>
          </p:nvSpPr>
          <p:spPr bwMode="auto">
            <a:xfrm>
              <a:off x="107951" y="3571875"/>
              <a:ext cx="844550" cy="2551113"/>
            </a:xfrm>
            <a:custGeom>
              <a:avLst/>
              <a:gdLst>
                <a:gd name="T0" fmla="*/ 0 w 532"/>
                <a:gd name="T1" fmla="*/ 314 h 1607"/>
                <a:gd name="T2" fmla="*/ 0 w 532"/>
                <a:gd name="T3" fmla="*/ 1607 h 1607"/>
                <a:gd name="T4" fmla="*/ 532 w 532"/>
                <a:gd name="T5" fmla="*/ 1607 h 1607"/>
                <a:gd name="T6" fmla="*/ 532 w 532"/>
                <a:gd name="T7" fmla="*/ 314 h 1607"/>
                <a:gd name="T8" fmla="*/ 347 w 532"/>
                <a:gd name="T9" fmla="*/ 314 h 1607"/>
                <a:gd name="T10" fmla="*/ 347 w 532"/>
                <a:gd name="T11" fmla="*/ 192 h 1607"/>
                <a:gd name="T12" fmla="*/ 242 w 532"/>
                <a:gd name="T13" fmla="*/ 192 h 1607"/>
                <a:gd name="T14" fmla="*/ 242 w 532"/>
                <a:gd name="T15" fmla="*/ 314 h 1607"/>
                <a:gd name="T16" fmla="*/ 163 w 532"/>
                <a:gd name="T17" fmla="*/ 314 h 1607"/>
                <a:gd name="T18" fmla="*/ 163 w 532"/>
                <a:gd name="T19" fmla="*/ 0 h 1607"/>
                <a:gd name="T20" fmla="*/ 55 w 532"/>
                <a:gd name="T21" fmla="*/ 0 h 1607"/>
                <a:gd name="T22" fmla="*/ 55 w 532"/>
                <a:gd name="T23" fmla="*/ 314 h 1607"/>
                <a:gd name="T24" fmla="*/ 0 w 532"/>
                <a:gd name="T25" fmla="*/ 314 h 1607"/>
                <a:gd name="T26" fmla="*/ 335 w 532"/>
                <a:gd name="T27" fmla="*/ 1226 h 1607"/>
                <a:gd name="T28" fmla="*/ 438 w 532"/>
                <a:gd name="T29" fmla="*/ 1226 h 1607"/>
                <a:gd name="T30" fmla="*/ 438 w 532"/>
                <a:gd name="T31" fmla="*/ 1329 h 1607"/>
                <a:gd name="T32" fmla="*/ 335 w 532"/>
                <a:gd name="T33" fmla="*/ 1329 h 1607"/>
                <a:gd name="T34" fmla="*/ 335 w 532"/>
                <a:gd name="T35" fmla="*/ 1226 h 1607"/>
                <a:gd name="T36" fmla="*/ 335 w 532"/>
                <a:gd name="T37" fmla="*/ 1034 h 1607"/>
                <a:gd name="T38" fmla="*/ 438 w 532"/>
                <a:gd name="T39" fmla="*/ 1034 h 1607"/>
                <a:gd name="T40" fmla="*/ 438 w 532"/>
                <a:gd name="T41" fmla="*/ 1137 h 1607"/>
                <a:gd name="T42" fmla="*/ 335 w 532"/>
                <a:gd name="T43" fmla="*/ 1137 h 1607"/>
                <a:gd name="T44" fmla="*/ 335 w 532"/>
                <a:gd name="T45" fmla="*/ 1034 h 1607"/>
                <a:gd name="T46" fmla="*/ 335 w 532"/>
                <a:gd name="T47" fmla="*/ 842 h 1607"/>
                <a:gd name="T48" fmla="*/ 438 w 532"/>
                <a:gd name="T49" fmla="*/ 842 h 1607"/>
                <a:gd name="T50" fmla="*/ 438 w 532"/>
                <a:gd name="T51" fmla="*/ 947 h 1607"/>
                <a:gd name="T52" fmla="*/ 335 w 532"/>
                <a:gd name="T53" fmla="*/ 947 h 1607"/>
                <a:gd name="T54" fmla="*/ 335 w 532"/>
                <a:gd name="T55" fmla="*/ 842 h 1607"/>
                <a:gd name="T56" fmla="*/ 335 w 532"/>
                <a:gd name="T57" fmla="*/ 652 h 1607"/>
                <a:gd name="T58" fmla="*/ 438 w 532"/>
                <a:gd name="T59" fmla="*/ 652 h 1607"/>
                <a:gd name="T60" fmla="*/ 438 w 532"/>
                <a:gd name="T61" fmla="*/ 755 h 1607"/>
                <a:gd name="T62" fmla="*/ 335 w 532"/>
                <a:gd name="T63" fmla="*/ 755 h 1607"/>
                <a:gd name="T64" fmla="*/ 335 w 532"/>
                <a:gd name="T65" fmla="*/ 652 h 1607"/>
                <a:gd name="T66" fmla="*/ 335 w 532"/>
                <a:gd name="T67" fmla="*/ 460 h 1607"/>
                <a:gd name="T68" fmla="*/ 438 w 532"/>
                <a:gd name="T69" fmla="*/ 460 h 1607"/>
                <a:gd name="T70" fmla="*/ 438 w 532"/>
                <a:gd name="T71" fmla="*/ 566 h 1607"/>
                <a:gd name="T72" fmla="*/ 335 w 532"/>
                <a:gd name="T73" fmla="*/ 566 h 1607"/>
                <a:gd name="T74" fmla="*/ 335 w 532"/>
                <a:gd name="T75" fmla="*/ 460 h 1607"/>
                <a:gd name="T76" fmla="*/ 93 w 532"/>
                <a:gd name="T77" fmla="*/ 1226 h 1607"/>
                <a:gd name="T78" fmla="*/ 196 w 532"/>
                <a:gd name="T79" fmla="*/ 1226 h 1607"/>
                <a:gd name="T80" fmla="*/ 196 w 532"/>
                <a:gd name="T81" fmla="*/ 1329 h 1607"/>
                <a:gd name="T82" fmla="*/ 93 w 532"/>
                <a:gd name="T83" fmla="*/ 1329 h 1607"/>
                <a:gd name="T84" fmla="*/ 93 w 532"/>
                <a:gd name="T85" fmla="*/ 1226 h 1607"/>
                <a:gd name="T86" fmla="*/ 93 w 532"/>
                <a:gd name="T87" fmla="*/ 1034 h 1607"/>
                <a:gd name="T88" fmla="*/ 196 w 532"/>
                <a:gd name="T89" fmla="*/ 1034 h 1607"/>
                <a:gd name="T90" fmla="*/ 196 w 532"/>
                <a:gd name="T91" fmla="*/ 1137 h 1607"/>
                <a:gd name="T92" fmla="*/ 93 w 532"/>
                <a:gd name="T93" fmla="*/ 1137 h 1607"/>
                <a:gd name="T94" fmla="*/ 93 w 532"/>
                <a:gd name="T95" fmla="*/ 1034 h 1607"/>
                <a:gd name="T96" fmla="*/ 93 w 532"/>
                <a:gd name="T97" fmla="*/ 842 h 1607"/>
                <a:gd name="T98" fmla="*/ 196 w 532"/>
                <a:gd name="T99" fmla="*/ 842 h 1607"/>
                <a:gd name="T100" fmla="*/ 196 w 532"/>
                <a:gd name="T101" fmla="*/ 947 h 1607"/>
                <a:gd name="T102" fmla="*/ 93 w 532"/>
                <a:gd name="T103" fmla="*/ 947 h 1607"/>
                <a:gd name="T104" fmla="*/ 93 w 532"/>
                <a:gd name="T105" fmla="*/ 842 h 1607"/>
                <a:gd name="T106" fmla="*/ 93 w 532"/>
                <a:gd name="T107" fmla="*/ 652 h 1607"/>
                <a:gd name="T108" fmla="*/ 196 w 532"/>
                <a:gd name="T109" fmla="*/ 652 h 1607"/>
                <a:gd name="T110" fmla="*/ 196 w 532"/>
                <a:gd name="T111" fmla="*/ 755 h 1607"/>
                <a:gd name="T112" fmla="*/ 93 w 532"/>
                <a:gd name="T113" fmla="*/ 755 h 1607"/>
                <a:gd name="T114" fmla="*/ 93 w 532"/>
                <a:gd name="T115" fmla="*/ 652 h 1607"/>
                <a:gd name="T116" fmla="*/ 93 w 532"/>
                <a:gd name="T117" fmla="*/ 460 h 1607"/>
                <a:gd name="T118" fmla="*/ 196 w 532"/>
                <a:gd name="T119" fmla="*/ 460 h 1607"/>
                <a:gd name="T120" fmla="*/ 196 w 532"/>
                <a:gd name="T121" fmla="*/ 566 h 1607"/>
                <a:gd name="T122" fmla="*/ 93 w 532"/>
                <a:gd name="T123" fmla="*/ 566 h 1607"/>
                <a:gd name="T124" fmla="*/ 93 w 532"/>
                <a:gd name="T125" fmla="*/ 46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2" h="1607">
                  <a:moveTo>
                    <a:pt x="0" y="314"/>
                  </a:moveTo>
                  <a:lnTo>
                    <a:pt x="0" y="1607"/>
                  </a:lnTo>
                  <a:lnTo>
                    <a:pt x="532" y="1607"/>
                  </a:lnTo>
                  <a:lnTo>
                    <a:pt x="532" y="314"/>
                  </a:lnTo>
                  <a:lnTo>
                    <a:pt x="347" y="314"/>
                  </a:lnTo>
                  <a:lnTo>
                    <a:pt x="347" y="192"/>
                  </a:lnTo>
                  <a:lnTo>
                    <a:pt x="242" y="192"/>
                  </a:lnTo>
                  <a:lnTo>
                    <a:pt x="242" y="314"/>
                  </a:lnTo>
                  <a:lnTo>
                    <a:pt x="163" y="314"/>
                  </a:lnTo>
                  <a:lnTo>
                    <a:pt x="163" y="0"/>
                  </a:lnTo>
                  <a:lnTo>
                    <a:pt x="55" y="0"/>
                  </a:lnTo>
                  <a:lnTo>
                    <a:pt x="55" y="314"/>
                  </a:lnTo>
                  <a:lnTo>
                    <a:pt x="0" y="314"/>
                  </a:lnTo>
                  <a:close/>
                  <a:moveTo>
                    <a:pt x="335" y="1226"/>
                  </a:moveTo>
                  <a:lnTo>
                    <a:pt x="438" y="1226"/>
                  </a:lnTo>
                  <a:lnTo>
                    <a:pt x="438" y="1329"/>
                  </a:lnTo>
                  <a:lnTo>
                    <a:pt x="335" y="1329"/>
                  </a:lnTo>
                  <a:lnTo>
                    <a:pt x="335" y="1226"/>
                  </a:lnTo>
                  <a:close/>
                  <a:moveTo>
                    <a:pt x="335" y="1034"/>
                  </a:moveTo>
                  <a:lnTo>
                    <a:pt x="438" y="1034"/>
                  </a:lnTo>
                  <a:lnTo>
                    <a:pt x="438" y="1137"/>
                  </a:lnTo>
                  <a:lnTo>
                    <a:pt x="335" y="1137"/>
                  </a:lnTo>
                  <a:lnTo>
                    <a:pt x="335" y="1034"/>
                  </a:lnTo>
                  <a:close/>
                  <a:moveTo>
                    <a:pt x="335" y="842"/>
                  </a:moveTo>
                  <a:lnTo>
                    <a:pt x="438" y="842"/>
                  </a:lnTo>
                  <a:lnTo>
                    <a:pt x="438" y="947"/>
                  </a:lnTo>
                  <a:lnTo>
                    <a:pt x="335" y="947"/>
                  </a:lnTo>
                  <a:lnTo>
                    <a:pt x="335" y="842"/>
                  </a:lnTo>
                  <a:close/>
                  <a:moveTo>
                    <a:pt x="335" y="652"/>
                  </a:moveTo>
                  <a:lnTo>
                    <a:pt x="438" y="652"/>
                  </a:lnTo>
                  <a:lnTo>
                    <a:pt x="438" y="755"/>
                  </a:lnTo>
                  <a:lnTo>
                    <a:pt x="335" y="755"/>
                  </a:lnTo>
                  <a:lnTo>
                    <a:pt x="335" y="652"/>
                  </a:lnTo>
                  <a:close/>
                  <a:moveTo>
                    <a:pt x="335" y="460"/>
                  </a:moveTo>
                  <a:lnTo>
                    <a:pt x="438" y="460"/>
                  </a:lnTo>
                  <a:lnTo>
                    <a:pt x="438" y="566"/>
                  </a:lnTo>
                  <a:lnTo>
                    <a:pt x="335" y="566"/>
                  </a:lnTo>
                  <a:lnTo>
                    <a:pt x="335" y="460"/>
                  </a:lnTo>
                  <a:close/>
                  <a:moveTo>
                    <a:pt x="93" y="1226"/>
                  </a:moveTo>
                  <a:lnTo>
                    <a:pt x="196" y="1226"/>
                  </a:lnTo>
                  <a:lnTo>
                    <a:pt x="196" y="1329"/>
                  </a:lnTo>
                  <a:lnTo>
                    <a:pt x="93" y="1329"/>
                  </a:lnTo>
                  <a:lnTo>
                    <a:pt x="93" y="1226"/>
                  </a:lnTo>
                  <a:close/>
                  <a:moveTo>
                    <a:pt x="93" y="1034"/>
                  </a:moveTo>
                  <a:lnTo>
                    <a:pt x="196" y="1034"/>
                  </a:lnTo>
                  <a:lnTo>
                    <a:pt x="196" y="1137"/>
                  </a:lnTo>
                  <a:lnTo>
                    <a:pt x="93" y="1137"/>
                  </a:lnTo>
                  <a:lnTo>
                    <a:pt x="93" y="1034"/>
                  </a:lnTo>
                  <a:close/>
                  <a:moveTo>
                    <a:pt x="93" y="842"/>
                  </a:moveTo>
                  <a:lnTo>
                    <a:pt x="196" y="842"/>
                  </a:lnTo>
                  <a:lnTo>
                    <a:pt x="196" y="947"/>
                  </a:lnTo>
                  <a:lnTo>
                    <a:pt x="93" y="947"/>
                  </a:lnTo>
                  <a:lnTo>
                    <a:pt x="93" y="842"/>
                  </a:lnTo>
                  <a:close/>
                  <a:moveTo>
                    <a:pt x="93" y="652"/>
                  </a:moveTo>
                  <a:lnTo>
                    <a:pt x="196" y="652"/>
                  </a:lnTo>
                  <a:lnTo>
                    <a:pt x="196" y="755"/>
                  </a:lnTo>
                  <a:lnTo>
                    <a:pt x="93" y="755"/>
                  </a:lnTo>
                  <a:lnTo>
                    <a:pt x="93" y="652"/>
                  </a:lnTo>
                  <a:close/>
                  <a:moveTo>
                    <a:pt x="93" y="460"/>
                  </a:moveTo>
                  <a:lnTo>
                    <a:pt x="196" y="460"/>
                  </a:lnTo>
                  <a:lnTo>
                    <a:pt x="196" y="566"/>
                  </a:lnTo>
                  <a:lnTo>
                    <a:pt x="93" y="566"/>
                  </a:lnTo>
                  <a:lnTo>
                    <a:pt x="93" y="4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8" name="işḻîdê"/>
            <p:cNvSpPr/>
            <p:nvPr/>
          </p:nvSpPr>
          <p:spPr bwMode="auto">
            <a:xfrm>
              <a:off x="3008313" y="2128838"/>
              <a:ext cx="844550" cy="3994150"/>
            </a:xfrm>
            <a:custGeom>
              <a:avLst/>
              <a:gdLst>
                <a:gd name="T0" fmla="*/ 0 w 532"/>
                <a:gd name="T1" fmla="*/ 463 h 2516"/>
                <a:gd name="T2" fmla="*/ 0 w 532"/>
                <a:gd name="T3" fmla="*/ 2516 h 2516"/>
                <a:gd name="T4" fmla="*/ 532 w 532"/>
                <a:gd name="T5" fmla="*/ 2516 h 2516"/>
                <a:gd name="T6" fmla="*/ 532 w 532"/>
                <a:gd name="T7" fmla="*/ 463 h 2516"/>
                <a:gd name="T8" fmla="*/ 258 w 532"/>
                <a:gd name="T9" fmla="*/ 0 h 2516"/>
                <a:gd name="T10" fmla="*/ 0 w 532"/>
                <a:gd name="T11" fmla="*/ 463 h 2516"/>
                <a:gd name="T12" fmla="*/ 371 w 532"/>
                <a:gd name="T13" fmla="*/ 1832 h 2516"/>
                <a:gd name="T14" fmla="*/ 443 w 532"/>
                <a:gd name="T15" fmla="*/ 1832 h 2516"/>
                <a:gd name="T16" fmla="*/ 443 w 532"/>
                <a:gd name="T17" fmla="*/ 2139 h 2516"/>
                <a:gd name="T18" fmla="*/ 371 w 532"/>
                <a:gd name="T19" fmla="*/ 2139 h 2516"/>
                <a:gd name="T20" fmla="*/ 371 w 532"/>
                <a:gd name="T21" fmla="*/ 1832 h 2516"/>
                <a:gd name="T22" fmla="*/ 371 w 532"/>
                <a:gd name="T23" fmla="*/ 1432 h 2516"/>
                <a:gd name="T24" fmla="*/ 443 w 532"/>
                <a:gd name="T25" fmla="*/ 1432 h 2516"/>
                <a:gd name="T26" fmla="*/ 443 w 532"/>
                <a:gd name="T27" fmla="*/ 1739 h 2516"/>
                <a:gd name="T28" fmla="*/ 371 w 532"/>
                <a:gd name="T29" fmla="*/ 1739 h 2516"/>
                <a:gd name="T30" fmla="*/ 371 w 532"/>
                <a:gd name="T31" fmla="*/ 1432 h 2516"/>
                <a:gd name="T32" fmla="*/ 371 w 532"/>
                <a:gd name="T33" fmla="*/ 630 h 2516"/>
                <a:gd name="T34" fmla="*/ 443 w 532"/>
                <a:gd name="T35" fmla="*/ 630 h 2516"/>
                <a:gd name="T36" fmla="*/ 443 w 532"/>
                <a:gd name="T37" fmla="*/ 938 h 2516"/>
                <a:gd name="T38" fmla="*/ 371 w 532"/>
                <a:gd name="T39" fmla="*/ 938 h 2516"/>
                <a:gd name="T40" fmla="*/ 371 w 532"/>
                <a:gd name="T41" fmla="*/ 630 h 2516"/>
                <a:gd name="T42" fmla="*/ 230 w 532"/>
                <a:gd name="T43" fmla="*/ 1832 h 2516"/>
                <a:gd name="T44" fmla="*/ 302 w 532"/>
                <a:gd name="T45" fmla="*/ 1832 h 2516"/>
                <a:gd name="T46" fmla="*/ 302 w 532"/>
                <a:gd name="T47" fmla="*/ 2139 h 2516"/>
                <a:gd name="T48" fmla="*/ 230 w 532"/>
                <a:gd name="T49" fmla="*/ 2139 h 2516"/>
                <a:gd name="T50" fmla="*/ 230 w 532"/>
                <a:gd name="T51" fmla="*/ 1832 h 2516"/>
                <a:gd name="T52" fmla="*/ 230 w 532"/>
                <a:gd name="T53" fmla="*/ 1432 h 2516"/>
                <a:gd name="T54" fmla="*/ 302 w 532"/>
                <a:gd name="T55" fmla="*/ 1432 h 2516"/>
                <a:gd name="T56" fmla="*/ 302 w 532"/>
                <a:gd name="T57" fmla="*/ 1739 h 2516"/>
                <a:gd name="T58" fmla="*/ 230 w 532"/>
                <a:gd name="T59" fmla="*/ 1739 h 2516"/>
                <a:gd name="T60" fmla="*/ 230 w 532"/>
                <a:gd name="T61" fmla="*/ 1432 h 2516"/>
                <a:gd name="T62" fmla="*/ 230 w 532"/>
                <a:gd name="T63" fmla="*/ 1031 h 2516"/>
                <a:gd name="T64" fmla="*/ 302 w 532"/>
                <a:gd name="T65" fmla="*/ 1031 h 2516"/>
                <a:gd name="T66" fmla="*/ 302 w 532"/>
                <a:gd name="T67" fmla="*/ 1338 h 2516"/>
                <a:gd name="T68" fmla="*/ 230 w 532"/>
                <a:gd name="T69" fmla="*/ 1338 h 2516"/>
                <a:gd name="T70" fmla="*/ 230 w 532"/>
                <a:gd name="T71" fmla="*/ 1031 h 2516"/>
                <a:gd name="T72" fmla="*/ 230 w 532"/>
                <a:gd name="T73" fmla="*/ 630 h 2516"/>
                <a:gd name="T74" fmla="*/ 302 w 532"/>
                <a:gd name="T75" fmla="*/ 630 h 2516"/>
                <a:gd name="T76" fmla="*/ 302 w 532"/>
                <a:gd name="T77" fmla="*/ 938 h 2516"/>
                <a:gd name="T78" fmla="*/ 230 w 532"/>
                <a:gd name="T79" fmla="*/ 938 h 2516"/>
                <a:gd name="T80" fmla="*/ 230 w 532"/>
                <a:gd name="T81" fmla="*/ 630 h 2516"/>
                <a:gd name="T82" fmla="*/ 88 w 532"/>
                <a:gd name="T83" fmla="*/ 1832 h 2516"/>
                <a:gd name="T84" fmla="*/ 160 w 532"/>
                <a:gd name="T85" fmla="*/ 1832 h 2516"/>
                <a:gd name="T86" fmla="*/ 160 w 532"/>
                <a:gd name="T87" fmla="*/ 2139 h 2516"/>
                <a:gd name="T88" fmla="*/ 88 w 532"/>
                <a:gd name="T89" fmla="*/ 2139 h 2516"/>
                <a:gd name="T90" fmla="*/ 88 w 532"/>
                <a:gd name="T91" fmla="*/ 1832 h 2516"/>
                <a:gd name="T92" fmla="*/ 88 w 532"/>
                <a:gd name="T93" fmla="*/ 1031 h 2516"/>
                <a:gd name="T94" fmla="*/ 160 w 532"/>
                <a:gd name="T95" fmla="*/ 1031 h 2516"/>
                <a:gd name="T96" fmla="*/ 160 w 532"/>
                <a:gd name="T97" fmla="*/ 1338 h 2516"/>
                <a:gd name="T98" fmla="*/ 88 w 532"/>
                <a:gd name="T99" fmla="*/ 1338 h 2516"/>
                <a:gd name="T100" fmla="*/ 88 w 532"/>
                <a:gd name="T101" fmla="*/ 1031 h 2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32" h="2516">
                  <a:moveTo>
                    <a:pt x="0" y="463"/>
                  </a:moveTo>
                  <a:lnTo>
                    <a:pt x="0" y="2516"/>
                  </a:lnTo>
                  <a:lnTo>
                    <a:pt x="532" y="2516"/>
                  </a:lnTo>
                  <a:lnTo>
                    <a:pt x="532" y="463"/>
                  </a:lnTo>
                  <a:lnTo>
                    <a:pt x="258" y="0"/>
                  </a:lnTo>
                  <a:lnTo>
                    <a:pt x="0" y="463"/>
                  </a:lnTo>
                  <a:close/>
                  <a:moveTo>
                    <a:pt x="371" y="1832"/>
                  </a:moveTo>
                  <a:lnTo>
                    <a:pt x="443" y="1832"/>
                  </a:lnTo>
                  <a:lnTo>
                    <a:pt x="443" y="2139"/>
                  </a:lnTo>
                  <a:lnTo>
                    <a:pt x="371" y="2139"/>
                  </a:lnTo>
                  <a:lnTo>
                    <a:pt x="371" y="1832"/>
                  </a:lnTo>
                  <a:close/>
                  <a:moveTo>
                    <a:pt x="371" y="1432"/>
                  </a:moveTo>
                  <a:lnTo>
                    <a:pt x="443" y="1432"/>
                  </a:lnTo>
                  <a:lnTo>
                    <a:pt x="443" y="1739"/>
                  </a:lnTo>
                  <a:lnTo>
                    <a:pt x="371" y="1739"/>
                  </a:lnTo>
                  <a:lnTo>
                    <a:pt x="371" y="1432"/>
                  </a:lnTo>
                  <a:close/>
                  <a:moveTo>
                    <a:pt x="371" y="630"/>
                  </a:moveTo>
                  <a:lnTo>
                    <a:pt x="443" y="630"/>
                  </a:lnTo>
                  <a:lnTo>
                    <a:pt x="443" y="938"/>
                  </a:lnTo>
                  <a:lnTo>
                    <a:pt x="371" y="938"/>
                  </a:lnTo>
                  <a:lnTo>
                    <a:pt x="371" y="630"/>
                  </a:lnTo>
                  <a:close/>
                  <a:moveTo>
                    <a:pt x="230" y="1832"/>
                  </a:moveTo>
                  <a:lnTo>
                    <a:pt x="302" y="1832"/>
                  </a:lnTo>
                  <a:lnTo>
                    <a:pt x="302" y="2139"/>
                  </a:lnTo>
                  <a:lnTo>
                    <a:pt x="230" y="2139"/>
                  </a:lnTo>
                  <a:lnTo>
                    <a:pt x="230" y="1832"/>
                  </a:lnTo>
                  <a:close/>
                  <a:moveTo>
                    <a:pt x="230" y="1432"/>
                  </a:moveTo>
                  <a:lnTo>
                    <a:pt x="302" y="1432"/>
                  </a:lnTo>
                  <a:lnTo>
                    <a:pt x="302" y="1739"/>
                  </a:lnTo>
                  <a:lnTo>
                    <a:pt x="230" y="1739"/>
                  </a:lnTo>
                  <a:lnTo>
                    <a:pt x="230" y="1432"/>
                  </a:lnTo>
                  <a:close/>
                  <a:moveTo>
                    <a:pt x="230" y="1031"/>
                  </a:moveTo>
                  <a:lnTo>
                    <a:pt x="302" y="1031"/>
                  </a:lnTo>
                  <a:lnTo>
                    <a:pt x="302" y="1338"/>
                  </a:lnTo>
                  <a:lnTo>
                    <a:pt x="230" y="1338"/>
                  </a:lnTo>
                  <a:lnTo>
                    <a:pt x="230" y="1031"/>
                  </a:lnTo>
                  <a:close/>
                  <a:moveTo>
                    <a:pt x="230" y="630"/>
                  </a:moveTo>
                  <a:lnTo>
                    <a:pt x="302" y="630"/>
                  </a:lnTo>
                  <a:lnTo>
                    <a:pt x="302" y="938"/>
                  </a:lnTo>
                  <a:lnTo>
                    <a:pt x="230" y="938"/>
                  </a:lnTo>
                  <a:lnTo>
                    <a:pt x="230" y="630"/>
                  </a:lnTo>
                  <a:close/>
                  <a:moveTo>
                    <a:pt x="88" y="1832"/>
                  </a:moveTo>
                  <a:lnTo>
                    <a:pt x="160" y="1832"/>
                  </a:lnTo>
                  <a:lnTo>
                    <a:pt x="160" y="2139"/>
                  </a:lnTo>
                  <a:lnTo>
                    <a:pt x="88" y="2139"/>
                  </a:lnTo>
                  <a:lnTo>
                    <a:pt x="88" y="1832"/>
                  </a:lnTo>
                  <a:close/>
                  <a:moveTo>
                    <a:pt x="88" y="1031"/>
                  </a:moveTo>
                  <a:lnTo>
                    <a:pt x="160" y="1031"/>
                  </a:lnTo>
                  <a:lnTo>
                    <a:pt x="160" y="1338"/>
                  </a:lnTo>
                  <a:lnTo>
                    <a:pt x="88" y="1338"/>
                  </a:lnTo>
                  <a:lnTo>
                    <a:pt x="88" y="10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9" name="îṡḻïḍê"/>
            <p:cNvSpPr/>
            <p:nvPr/>
          </p:nvSpPr>
          <p:spPr bwMode="auto">
            <a:xfrm>
              <a:off x="2041526" y="3784600"/>
              <a:ext cx="844550" cy="2338388"/>
            </a:xfrm>
            <a:custGeom>
              <a:avLst/>
              <a:gdLst>
                <a:gd name="T0" fmla="*/ 0 w 532"/>
                <a:gd name="T1" fmla="*/ 384 h 1473"/>
                <a:gd name="T2" fmla="*/ 0 w 532"/>
                <a:gd name="T3" fmla="*/ 1473 h 1473"/>
                <a:gd name="T4" fmla="*/ 532 w 532"/>
                <a:gd name="T5" fmla="*/ 1473 h 1473"/>
                <a:gd name="T6" fmla="*/ 532 w 532"/>
                <a:gd name="T7" fmla="*/ 384 h 1473"/>
                <a:gd name="T8" fmla="*/ 465 w 532"/>
                <a:gd name="T9" fmla="*/ 384 h 1473"/>
                <a:gd name="T10" fmla="*/ 465 w 532"/>
                <a:gd name="T11" fmla="*/ 283 h 1473"/>
                <a:gd name="T12" fmla="*/ 388 w 532"/>
                <a:gd name="T13" fmla="*/ 283 h 1473"/>
                <a:gd name="T14" fmla="*/ 388 w 532"/>
                <a:gd name="T15" fmla="*/ 0 h 1473"/>
                <a:gd name="T16" fmla="*/ 143 w 532"/>
                <a:gd name="T17" fmla="*/ 0 h 1473"/>
                <a:gd name="T18" fmla="*/ 143 w 532"/>
                <a:gd name="T19" fmla="*/ 283 h 1473"/>
                <a:gd name="T20" fmla="*/ 67 w 532"/>
                <a:gd name="T21" fmla="*/ 283 h 1473"/>
                <a:gd name="T22" fmla="*/ 67 w 532"/>
                <a:gd name="T23" fmla="*/ 384 h 1473"/>
                <a:gd name="T24" fmla="*/ 0 w 532"/>
                <a:gd name="T25" fmla="*/ 384 h 1473"/>
                <a:gd name="T26" fmla="*/ 362 w 532"/>
                <a:gd name="T27" fmla="*/ 1029 h 1473"/>
                <a:gd name="T28" fmla="*/ 457 w 532"/>
                <a:gd name="T29" fmla="*/ 1029 h 1473"/>
                <a:gd name="T30" fmla="*/ 457 w 532"/>
                <a:gd name="T31" fmla="*/ 1137 h 1473"/>
                <a:gd name="T32" fmla="*/ 362 w 532"/>
                <a:gd name="T33" fmla="*/ 1137 h 1473"/>
                <a:gd name="T34" fmla="*/ 362 w 532"/>
                <a:gd name="T35" fmla="*/ 1029 h 1473"/>
                <a:gd name="T36" fmla="*/ 362 w 532"/>
                <a:gd name="T37" fmla="*/ 681 h 1473"/>
                <a:gd name="T38" fmla="*/ 457 w 532"/>
                <a:gd name="T39" fmla="*/ 681 h 1473"/>
                <a:gd name="T40" fmla="*/ 457 w 532"/>
                <a:gd name="T41" fmla="*/ 792 h 1473"/>
                <a:gd name="T42" fmla="*/ 362 w 532"/>
                <a:gd name="T43" fmla="*/ 792 h 1473"/>
                <a:gd name="T44" fmla="*/ 362 w 532"/>
                <a:gd name="T45" fmla="*/ 681 h 1473"/>
                <a:gd name="T46" fmla="*/ 362 w 532"/>
                <a:gd name="T47" fmla="*/ 509 h 1473"/>
                <a:gd name="T48" fmla="*/ 457 w 532"/>
                <a:gd name="T49" fmla="*/ 509 h 1473"/>
                <a:gd name="T50" fmla="*/ 457 w 532"/>
                <a:gd name="T51" fmla="*/ 619 h 1473"/>
                <a:gd name="T52" fmla="*/ 362 w 532"/>
                <a:gd name="T53" fmla="*/ 619 h 1473"/>
                <a:gd name="T54" fmla="*/ 362 w 532"/>
                <a:gd name="T55" fmla="*/ 509 h 1473"/>
                <a:gd name="T56" fmla="*/ 218 w 532"/>
                <a:gd name="T57" fmla="*/ 854 h 1473"/>
                <a:gd name="T58" fmla="*/ 314 w 532"/>
                <a:gd name="T59" fmla="*/ 854 h 1473"/>
                <a:gd name="T60" fmla="*/ 314 w 532"/>
                <a:gd name="T61" fmla="*/ 964 h 1473"/>
                <a:gd name="T62" fmla="*/ 218 w 532"/>
                <a:gd name="T63" fmla="*/ 964 h 1473"/>
                <a:gd name="T64" fmla="*/ 218 w 532"/>
                <a:gd name="T65" fmla="*/ 854 h 1473"/>
                <a:gd name="T66" fmla="*/ 218 w 532"/>
                <a:gd name="T67" fmla="*/ 681 h 1473"/>
                <a:gd name="T68" fmla="*/ 314 w 532"/>
                <a:gd name="T69" fmla="*/ 681 h 1473"/>
                <a:gd name="T70" fmla="*/ 314 w 532"/>
                <a:gd name="T71" fmla="*/ 792 h 1473"/>
                <a:gd name="T72" fmla="*/ 218 w 532"/>
                <a:gd name="T73" fmla="*/ 792 h 1473"/>
                <a:gd name="T74" fmla="*/ 218 w 532"/>
                <a:gd name="T75" fmla="*/ 681 h 1473"/>
                <a:gd name="T76" fmla="*/ 218 w 532"/>
                <a:gd name="T77" fmla="*/ 509 h 1473"/>
                <a:gd name="T78" fmla="*/ 314 w 532"/>
                <a:gd name="T79" fmla="*/ 509 h 1473"/>
                <a:gd name="T80" fmla="*/ 314 w 532"/>
                <a:gd name="T81" fmla="*/ 619 h 1473"/>
                <a:gd name="T82" fmla="*/ 218 w 532"/>
                <a:gd name="T83" fmla="*/ 619 h 1473"/>
                <a:gd name="T84" fmla="*/ 218 w 532"/>
                <a:gd name="T85" fmla="*/ 509 h 1473"/>
                <a:gd name="T86" fmla="*/ 74 w 532"/>
                <a:gd name="T87" fmla="*/ 1029 h 1473"/>
                <a:gd name="T88" fmla="*/ 170 w 532"/>
                <a:gd name="T89" fmla="*/ 1029 h 1473"/>
                <a:gd name="T90" fmla="*/ 170 w 532"/>
                <a:gd name="T91" fmla="*/ 1137 h 1473"/>
                <a:gd name="T92" fmla="*/ 74 w 532"/>
                <a:gd name="T93" fmla="*/ 1137 h 1473"/>
                <a:gd name="T94" fmla="*/ 74 w 532"/>
                <a:gd name="T95" fmla="*/ 1029 h 1473"/>
                <a:gd name="T96" fmla="*/ 74 w 532"/>
                <a:gd name="T97" fmla="*/ 854 h 1473"/>
                <a:gd name="T98" fmla="*/ 170 w 532"/>
                <a:gd name="T99" fmla="*/ 854 h 1473"/>
                <a:gd name="T100" fmla="*/ 170 w 532"/>
                <a:gd name="T101" fmla="*/ 964 h 1473"/>
                <a:gd name="T102" fmla="*/ 74 w 532"/>
                <a:gd name="T103" fmla="*/ 964 h 1473"/>
                <a:gd name="T104" fmla="*/ 74 w 532"/>
                <a:gd name="T105" fmla="*/ 854 h 1473"/>
                <a:gd name="T106" fmla="*/ 74 w 532"/>
                <a:gd name="T107" fmla="*/ 681 h 1473"/>
                <a:gd name="T108" fmla="*/ 170 w 532"/>
                <a:gd name="T109" fmla="*/ 681 h 1473"/>
                <a:gd name="T110" fmla="*/ 170 w 532"/>
                <a:gd name="T111" fmla="*/ 792 h 1473"/>
                <a:gd name="T112" fmla="*/ 74 w 532"/>
                <a:gd name="T113" fmla="*/ 792 h 1473"/>
                <a:gd name="T114" fmla="*/ 74 w 532"/>
                <a:gd name="T115" fmla="*/ 681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2" h="1473">
                  <a:moveTo>
                    <a:pt x="0" y="384"/>
                  </a:moveTo>
                  <a:lnTo>
                    <a:pt x="0" y="1473"/>
                  </a:lnTo>
                  <a:lnTo>
                    <a:pt x="532" y="1473"/>
                  </a:lnTo>
                  <a:lnTo>
                    <a:pt x="532" y="384"/>
                  </a:lnTo>
                  <a:lnTo>
                    <a:pt x="465" y="384"/>
                  </a:lnTo>
                  <a:lnTo>
                    <a:pt x="465" y="283"/>
                  </a:lnTo>
                  <a:lnTo>
                    <a:pt x="388" y="283"/>
                  </a:lnTo>
                  <a:lnTo>
                    <a:pt x="388" y="0"/>
                  </a:lnTo>
                  <a:lnTo>
                    <a:pt x="143" y="0"/>
                  </a:lnTo>
                  <a:lnTo>
                    <a:pt x="143" y="283"/>
                  </a:lnTo>
                  <a:lnTo>
                    <a:pt x="67" y="283"/>
                  </a:lnTo>
                  <a:lnTo>
                    <a:pt x="67" y="384"/>
                  </a:lnTo>
                  <a:lnTo>
                    <a:pt x="0" y="384"/>
                  </a:lnTo>
                  <a:close/>
                  <a:moveTo>
                    <a:pt x="362" y="1029"/>
                  </a:moveTo>
                  <a:lnTo>
                    <a:pt x="457" y="1029"/>
                  </a:lnTo>
                  <a:lnTo>
                    <a:pt x="457" y="1137"/>
                  </a:lnTo>
                  <a:lnTo>
                    <a:pt x="362" y="1137"/>
                  </a:lnTo>
                  <a:lnTo>
                    <a:pt x="362" y="1029"/>
                  </a:lnTo>
                  <a:close/>
                  <a:moveTo>
                    <a:pt x="362" y="681"/>
                  </a:moveTo>
                  <a:lnTo>
                    <a:pt x="457" y="681"/>
                  </a:lnTo>
                  <a:lnTo>
                    <a:pt x="457" y="792"/>
                  </a:lnTo>
                  <a:lnTo>
                    <a:pt x="362" y="792"/>
                  </a:lnTo>
                  <a:lnTo>
                    <a:pt x="362" y="681"/>
                  </a:lnTo>
                  <a:close/>
                  <a:moveTo>
                    <a:pt x="362" y="509"/>
                  </a:moveTo>
                  <a:lnTo>
                    <a:pt x="457" y="509"/>
                  </a:lnTo>
                  <a:lnTo>
                    <a:pt x="457" y="619"/>
                  </a:lnTo>
                  <a:lnTo>
                    <a:pt x="362" y="619"/>
                  </a:lnTo>
                  <a:lnTo>
                    <a:pt x="362" y="509"/>
                  </a:lnTo>
                  <a:close/>
                  <a:moveTo>
                    <a:pt x="218" y="854"/>
                  </a:moveTo>
                  <a:lnTo>
                    <a:pt x="314" y="854"/>
                  </a:lnTo>
                  <a:lnTo>
                    <a:pt x="314" y="964"/>
                  </a:lnTo>
                  <a:lnTo>
                    <a:pt x="218" y="964"/>
                  </a:lnTo>
                  <a:lnTo>
                    <a:pt x="218" y="854"/>
                  </a:lnTo>
                  <a:close/>
                  <a:moveTo>
                    <a:pt x="218" y="681"/>
                  </a:moveTo>
                  <a:lnTo>
                    <a:pt x="314" y="681"/>
                  </a:lnTo>
                  <a:lnTo>
                    <a:pt x="314" y="792"/>
                  </a:lnTo>
                  <a:lnTo>
                    <a:pt x="218" y="792"/>
                  </a:lnTo>
                  <a:lnTo>
                    <a:pt x="218" y="681"/>
                  </a:lnTo>
                  <a:close/>
                  <a:moveTo>
                    <a:pt x="218" y="509"/>
                  </a:moveTo>
                  <a:lnTo>
                    <a:pt x="314" y="509"/>
                  </a:lnTo>
                  <a:lnTo>
                    <a:pt x="314" y="619"/>
                  </a:lnTo>
                  <a:lnTo>
                    <a:pt x="218" y="619"/>
                  </a:lnTo>
                  <a:lnTo>
                    <a:pt x="218" y="509"/>
                  </a:lnTo>
                  <a:close/>
                  <a:moveTo>
                    <a:pt x="74" y="1029"/>
                  </a:moveTo>
                  <a:lnTo>
                    <a:pt x="170" y="1029"/>
                  </a:lnTo>
                  <a:lnTo>
                    <a:pt x="170" y="1137"/>
                  </a:lnTo>
                  <a:lnTo>
                    <a:pt x="74" y="1137"/>
                  </a:lnTo>
                  <a:lnTo>
                    <a:pt x="74" y="1029"/>
                  </a:lnTo>
                  <a:close/>
                  <a:moveTo>
                    <a:pt x="74" y="854"/>
                  </a:moveTo>
                  <a:lnTo>
                    <a:pt x="170" y="854"/>
                  </a:lnTo>
                  <a:lnTo>
                    <a:pt x="170" y="964"/>
                  </a:lnTo>
                  <a:lnTo>
                    <a:pt x="74" y="964"/>
                  </a:lnTo>
                  <a:lnTo>
                    <a:pt x="74" y="854"/>
                  </a:lnTo>
                  <a:close/>
                  <a:moveTo>
                    <a:pt x="74" y="681"/>
                  </a:moveTo>
                  <a:lnTo>
                    <a:pt x="170" y="681"/>
                  </a:lnTo>
                  <a:lnTo>
                    <a:pt x="170" y="792"/>
                  </a:lnTo>
                  <a:lnTo>
                    <a:pt x="74" y="792"/>
                  </a:lnTo>
                  <a:lnTo>
                    <a:pt x="74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60" name="iṧlïḋe"/>
            <p:cNvSpPr/>
            <p:nvPr/>
          </p:nvSpPr>
          <p:spPr bwMode="auto">
            <a:xfrm>
              <a:off x="4940301" y="3128963"/>
              <a:ext cx="846138" cy="2994025"/>
            </a:xfrm>
            <a:custGeom>
              <a:avLst/>
              <a:gdLst>
                <a:gd name="T0" fmla="*/ 0 w 533"/>
                <a:gd name="T1" fmla="*/ 1886 h 1886"/>
                <a:gd name="T2" fmla="*/ 533 w 533"/>
                <a:gd name="T3" fmla="*/ 92 h 1886"/>
                <a:gd name="T4" fmla="*/ 487 w 533"/>
                <a:gd name="T5" fmla="*/ 0 h 1886"/>
                <a:gd name="T6" fmla="*/ 202 w 533"/>
                <a:gd name="T7" fmla="*/ 92 h 1886"/>
                <a:gd name="T8" fmla="*/ 310 w 533"/>
                <a:gd name="T9" fmla="*/ 1466 h 1886"/>
                <a:gd name="T10" fmla="*/ 456 w 533"/>
                <a:gd name="T11" fmla="*/ 1517 h 1886"/>
                <a:gd name="T12" fmla="*/ 310 w 533"/>
                <a:gd name="T13" fmla="*/ 1466 h 1886"/>
                <a:gd name="T14" fmla="*/ 456 w 533"/>
                <a:gd name="T15" fmla="*/ 1346 h 1886"/>
                <a:gd name="T16" fmla="*/ 310 w 533"/>
                <a:gd name="T17" fmla="*/ 1397 h 1886"/>
                <a:gd name="T18" fmla="*/ 310 w 533"/>
                <a:gd name="T19" fmla="*/ 1226 h 1886"/>
                <a:gd name="T20" fmla="*/ 456 w 533"/>
                <a:gd name="T21" fmla="*/ 1277 h 1886"/>
                <a:gd name="T22" fmla="*/ 310 w 533"/>
                <a:gd name="T23" fmla="*/ 1226 h 1886"/>
                <a:gd name="T24" fmla="*/ 456 w 533"/>
                <a:gd name="T25" fmla="*/ 1106 h 1886"/>
                <a:gd name="T26" fmla="*/ 310 w 533"/>
                <a:gd name="T27" fmla="*/ 1157 h 1886"/>
                <a:gd name="T28" fmla="*/ 310 w 533"/>
                <a:gd name="T29" fmla="*/ 866 h 1886"/>
                <a:gd name="T30" fmla="*/ 456 w 533"/>
                <a:gd name="T31" fmla="*/ 917 h 1886"/>
                <a:gd name="T32" fmla="*/ 310 w 533"/>
                <a:gd name="T33" fmla="*/ 866 h 1886"/>
                <a:gd name="T34" fmla="*/ 456 w 533"/>
                <a:gd name="T35" fmla="*/ 747 h 1886"/>
                <a:gd name="T36" fmla="*/ 310 w 533"/>
                <a:gd name="T37" fmla="*/ 797 h 1886"/>
                <a:gd name="T38" fmla="*/ 310 w 533"/>
                <a:gd name="T39" fmla="*/ 627 h 1886"/>
                <a:gd name="T40" fmla="*/ 456 w 533"/>
                <a:gd name="T41" fmla="*/ 677 h 1886"/>
                <a:gd name="T42" fmla="*/ 310 w 533"/>
                <a:gd name="T43" fmla="*/ 627 h 1886"/>
                <a:gd name="T44" fmla="*/ 456 w 533"/>
                <a:gd name="T45" fmla="*/ 507 h 1886"/>
                <a:gd name="T46" fmla="*/ 310 w 533"/>
                <a:gd name="T47" fmla="*/ 557 h 1886"/>
                <a:gd name="T48" fmla="*/ 310 w 533"/>
                <a:gd name="T49" fmla="*/ 267 h 1886"/>
                <a:gd name="T50" fmla="*/ 456 w 533"/>
                <a:gd name="T51" fmla="*/ 317 h 1886"/>
                <a:gd name="T52" fmla="*/ 310 w 533"/>
                <a:gd name="T53" fmla="*/ 267 h 1886"/>
                <a:gd name="T54" fmla="*/ 223 w 533"/>
                <a:gd name="T55" fmla="*/ 1586 h 1886"/>
                <a:gd name="T56" fmla="*/ 77 w 533"/>
                <a:gd name="T57" fmla="*/ 1637 h 1886"/>
                <a:gd name="T58" fmla="*/ 77 w 533"/>
                <a:gd name="T59" fmla="*/ 1466 h 1886"/>
                <a:gd name="T60" fmla="*/ 223 w 533"/>
                <a:gd name="T61" fmla="*/ 1517 h 1886"/>
                <a:gd name="T62" fmla="*/ 77 w 533"/>
                <a:gd name="T63" fmla="*/ 1466 h 1886"/>
                <a:gd name="T64" fmla="*/ 223 w 533"/>
                <a:gd name="T65" fmla="*/ 1226 h 1886"/>
                <a:gd name="T66" fmla="*/ 77 w 533"/>
                <a:gd name="T67" fmla="*/ 1277 h 1886"/>
                <a:gd name="T68" fmla="*/ 77 w 533"/>
                <a:gd name="T69" fmla="*/ 986 h 1886"/>
                <a:gd name="T70" fmla="*/ 223 w 533"/>
                <a:gd name="T71" fmla="*/ 1037 h 1886"/>
                <a:gd name="T72" fmla="*/ 77 w 533"/>
                <a:gd name="T73" fmla="*/ 986 h 1886"/>
                <a:gd name="T74" fmla="*/ 223 w 533"/>
                <a:gd name="T75" fmla="*/ 866 h 1886"/>
                <a:gd name="T76" fmla="*/ 77 w 533"/>
                <a:gd name="T77" fmla="*/ 917 h 1886"/>
                <a:gd name="T78" fmla="*/ 77 w 533"/>
                <a:gd name="T79" fmla="*/ 627 h 1886"/>
                <a:gd name="T80" fmla="*/ 223 w 533"/>
                <a:gd name="T81" fmla="*/ 677 h 1886"/>
                <a:gd name="T82" fmla="*/ 77 w 533"/>
                <a:gd name="T83" fmla="*/ 627 h 1886"/>
                <a:gd name="T84" fmla="*/ 223 w 533"/>
                <a:gd name="T85" fmla="*/ 387 h 1886"/>
                <a:gd name="T86" fmla="*/ 77 w 533"/>
                <a:gd name="T87" fmla="*/ 437 h 1886"/>
                <a:gd name="T88" fmla="*/ 77 w 533"/>
                <a:gd name="T89" fmla="*/ 267 h 1886"/>
                <a:gd name="T90" fmla="*/ 223 w 533"/>
                <a:gd name="T91" fmla="*/ 317 h 1886"/>
                <a:gd name="T92" fmla="*/ 77 w 533"/>
                <a:gd name="T93" fmla="*/ 267 h 1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3" h="1886">
                  <a:moveTo>
                    <a:pt x="0" y="92"/>
                  </a:moveTo>
                  <a:lnTo>
                    <a:pt x="0" y="1886"/>
                  </a:lnTo>
                  <a:lnTo>
                    <a:pt x="533" y="1886"/>
                  </a:lnTo>
                  <a:lnTo>
                    <a:pt x="533" y="92"/>
                  </a:lnTo>
                  <a:lnTo>
                    <a:pt x="487" y="92"/>
                  </a:lnTo>
                  <a:lnTo>
                    <a:pt x="487" y="0"/>
                  </a:lnTo>
                  <a:lnTo>
                    <a:pt x="202" y="0"/>
                  </a:lnTo>
                  <a:lnTo>
                    <a:pt x="202" y="92"/>
                  </a:lnTo>
                  <a:lnTo>
                    <a:pt x="0" y="92"/>
                  </a:lnTo>
                  <a:close/>
                  <a:moveTo>
                    <a:pt x="310" y="1466"/>
                  </a:moveTo>
                  <a:lnTo>
                    <a:pt x="456" y="1466"/>
                  </a:lnTo>
                  <a:lnTo>
                    <a:pt x="456" y="1517"/>
                  </a:lnTo>
                  <a:lnTo>
                    <a:pt x="310" y="1517"/>
                  </a:lnTo>
                  <a:lnTo>
                    <a:pt x="310" y="1466"/>
                  </a:lnTo>
                  <a:close/>
                  <a:moveTo>
                    <a:pt x="310" y="1346"/>
                  </a:moveTo>
                  <a:lnTo>
                    <a:pt x="456" y="1346"/>
                  </a:lnTo>
                  <a:lnTo>
                    <a:pt x="456" y="1397"/>
                  </a:lnTo>
                  <a:lnTo>
                    <a:pt x="310" y="1397"/>
                  </a:lnTo>
                  <a:lnTo>
                    <a:pt x="310" y="1346"/>
                  </a:lnTo>
                  <a:close/>
                  <a:moveTo>
                    <a:pt x="310" y="1226"/>
                  </a:moveTo>
                  <a:lnTo>
                    <a:pt x="456" y="1226"/>
                  </a:lnTo>
                  <a:lnTo>
                    <a:pt x="456" y="1277"/>
                  </a:lnTo>
                  <a:lnTo>
                    <a:pt x="310" y="1277"/>
                  </a:lnTo>
                  <a:lnTo>
                    <a:pt x="310" y="1226"/>
                  </a:lnTo>
                  <a:close/>
                  <a:moveTo>
                    <a:pt x="310" y="1106"/>
                  </a:moveTo>
                  <a:lnTo>
                    <a:pt x="456" y="1106"/>
                  </a:lnTo>
                  <a:lnTo>
                    <a:pt x="456" y="1157"/>
                  </a:lnTo>
                  <a:lnTo>
                    <a:pt x="310" y="1157"/>
                  </a:lnTo>
                  <a:lnTo>
                    <a:pt x="310" y="1106"/>
                  </a:lnTo>
                  <a:close/>
                  <a:moveTo>
                    <a:pt x="310" y="866"/>
                  </a:moveTo>
                  <a:lnTo>
                    <a:pt x="456" y="866"/>
                  </a:lnTo>
                  <a:lnTo>
                    <a:pt x="456" y="917"/>
                  </a:lnTo>
                  <a:lnTo>
                    <a:pt x="310" y="917"/>
                  </a:lnTo>
                  <a:lnTo>
                    <a:pt x="310" y="866"/>
                  </a:lnTo>
                  <a:close/>
                  <a:moveTo>
                    <a:pt x="310" y="747"/>
                  </a:moveTo>
                  <a:lnTo>
                    <a:pt x="456" y="747"/>
                  </a:lnTo>
                  <a:lnTo>
                    <a:pt x="456" y="797"/>
                  </a:lnTo>
                  <a:lnTo>
                    <a:pt x="310" y="797"/>
                  </a:lnTo>
                  <a:lnTo>
                    <a:pt x="310" y="747"/>
                  </a:lnTo>
                  <a:close/>
                  <a:moveTo>
                    <a:pt x="310" y="627"/>
                  </a:moveTo>
                  <a:lnTo>
                    <a:pt x="456" y="627"/>
                  </a:lnTo>
                  <a:lnTo>
                    <a:pt x="456" y="677"/>
                  </a:lnTo>
                  <a:lnTo>
                    <a:pt x="310" y="677"/>
                  </a:lnTo>
                  <a:lnTo>
                    <a:pt x="310" y="627"/>
                  </a:lnTo>
                  <a:close/>
                  <a:moveTo>
                    <a:pt x="310" y="507"/>
                  </a:moveTo>
                  <a:lnTo>
                    <a:pt x="456" y="507"/>
                  </a:lnTo>
                  <a:lnTo>
                    <a:pt x="456" y="557"/>
                  </a:lnTo>
                  <a:lnTo>
                    <a:pt x="310" y="557"/>
                  </a:lnTo>
                  <a:lnTo>
                    <a:pt x="310" y="507"/>
                  </a:lnTo>
                  <a:close/>
                  <a:moveTo>
                    <a:pt x="310" y="267"/>
                  </a:moveTo>
                  <a:lnTo>
                    <a:pt x="456" y="267"/>
                  </a:lnTo>
                  <a:lnTo>
                    <a:pt x="456" y="317"/>
                  </a:lnTo>
                  <a:lnTo>
                    <a:pt x="310" y="317"/>
                  </a:lnTo>
                  <a:lnTo>
                    <a:pt x="310" y="267"/>
                  </a:lnTo>
                  <a:close/>
                  <a:moveTo>
                    <a:pt x="77" y="1586"/>
                  </a:moveTo>
                  <a:lnTo>
                    <a:pt x="223" y="1586"/>
                  </a:lnTo>
                  <a:lnTo>
                    <a:pt x="223" y="1637"/>
                  </a:lnTo>
                  <a:lnTo>
                    <a:pt x="77" y="1637"/>
                  </a:lnTo>
                  <a:lnTo>
                    <a:pt x="77" y="1586"/>
                  </a:lnTo>
                  <a:close/>
                  <a:moveTo>
                    <a:pt x="77" y="1466"/>
                  </a:moveTo>
                  <a:lnTo>
                    <a:pt x="223" y="1466"/>
                  </a:lnTo>
                  <a:lnTo>
                    <a:pt x="223" y="1517"/>
                  </a:lnTo>
                  <a:lnTo>
                    <a:pt x="77" y="1517"/>
                  </a:lnTo>
                  <a:lnTo>
                    <a:pt x="77" y="1466"/>
                  </a:lnTo>
                  <a:close/>
                  <a:moveTo>
                    <a:pt x="77" y="1226"/>
                  </a:moveTo>
                  <a:lnTo>
                    <a:pt x="223" y="1226"/>
                  </a:lnTo>
                  <a:lnTo>
                    <a:pt x="223" y="1277"/>
                  </a:lnTo>
                  <a:lnTo>
                    <a:pt x="77" y="1277"/>
                  </a:lnTo>
                  <a:lnTo>
                    <a:pt x="77" y="1226"/>
                  </a:lnTo>
                  <a:close/>
                  <a:moveTo>
                    <a:pt x="77" y="986"/>
                  </a:moveTo>
                  <a:lnTo>
                    <a:pt x="223" y="986"/>
                  </a:lnTo>
                  <a:lnTo>
                    <a:pt x="223" y="1037"/>
                  </a:lnTo>
                  <a:lnTo>
                    <a:pt x="77" y="1037"/>
                  </a:lnTo>
                  <a:lnTo>
                    <a:pt x="77" y="986"/>
                  </a:lnTo>
                  <a:close/>
                  <a:moveTo>
                    <a:pt x="77" y="866"/>
                  </a:moveTo>
                  <a:lnTo>
                    <a:pt x="223" y="866"/>
                  </a:lnTo>
                  <a:lnTo>
                    <a:pt x="223" y="917"/>
                  </a:lnTo>
                  <a:lnTo>
                    <a:pt x="77" y="917"/>
                  </a:lnTo>
                  <a:lnTo>
                    <a:pt x="77" y="866"/>
                  </a:lnTo>
                  <a:close/>
                  <a:moveTo>
                    <a:pt x="77" y="627"/>
                  </a:moveTo>
                  <a:lnTo>
                    <a:pt x="223" y="627"/>
                  </a:lnTo>
                  <a:lnTo>
                    <a:pt x="223" y="677"/>
                  </a:lnTo>
                  <a:lnTo>
                    <a:pt x="77" y="677"/>
                  </a:lnTo>
                  <a:lnTo>
                    <a:pt x="77" y="627"/>
                  </a:lnTo>
                  <a:close/>
                  <a:moveTo>
                    <a:pt x="77" y="387"/>
                  </a:moveTo>
                  <a:lnTo>
                    <a:pt x="223" y="387"/>
                  </a:lnTo>
                  <a:lnTo>
                    <a:pt x="223" y="437"/>
                  </a:lnTo>
                  <a:lnTo>
                    <a:pt x="77" y="437"/>
                  </a:lnTo>
                  <a:lnTo>
                    <a:pt x="77" y="387"/>
                  </a:lnTo>
                  <a:close/>
                  <a:moveTo>
                    <a:pt x="77" y="267"/>
                  </a:moveTo>
                  <a:lnTo>
                    <a:pt x="223" y="267"/>
                  </a:lnTo>
                  <a:lnTo>
                    <a:pt x="223" y="317"/>
                  </a:lnTo>
                  <a:lnTo>
                    <a:pt x="77" y="317"/>
                  </a:lnTo>
                  <a:lnTo>
                    <a:pt x="7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61" name="íS1ïďe"/>
            <p:cNvSpPr/>
            <p:nvPr/>
          </p:nvSpPr>
          <p:spPr bwMode="auto">
            <a:xfrm>
              <a:off x="3973513" y="3460750"/>
              <a:ext cx="846138" cy="2662238"/>
            </a:xfrm>
            <a:custGeom>
              <a:avLst/>
              <a:gdLst>
                <a:gd name="T0" fmla="*/ 0 w 533"/>
                <a:gd name="T1" fmla="*/ 1677 h 1677"/>
                <a:gd name="T2" fmla="*/ 533 w 533"/>
                <a:gd name="T3" fmla="*/ 204 h 1677"/>
                <a:gd name="T4" fmla="*/ 437 w 533"/>
                <a:gd name="T5" fmla="*/ 0 h 1677"/>
                <a:gd name="T6" fmla="*/ 329 w 533"/>
                <a:gd name="T7" fmla="*/ 204 h 1677"/>
                <a:gd name="T8" fmla="*/ 401 w 533"/>
                <a:gd name="T9" fmla="*/ 1252 h 1677"/>
                <a:gd name="T10" fmla="*/ 473 w 533"/>
                <a:gd name="T11" fmla="*/ 1324 h 1677"/>
                <a:gd name="T12" fmla="*/ 401 w 533"/>
                <a:gd name="T13" fmla="*/ 1252 h 1677"/>
                <a:gd name="T14" fmla="*/ 473 w 533"/>
                <a:gd name="T15" fmla="*/ 1104 h 1677"/>
                <a:gd name="T16" fmla="*/ 401 w 533"/>
                <a:gd name="T17" fmla="*/ 1176 h 1677"/>
                <a:gd name="T18" fmla="*/ 401 w 533"/>
                <a:gd name="T19" fmla="*/ 957 h 1677"/>
                <a:gd name="T20" fmla="*/ 473 w 533"/>
                <a:gd name="T21" fmla="*/ 1029 h 1677"/>
                <a:gd name="T22" fmla="*/ 401 w 533"/>
                <a:gd name="T23" fmla="*/ 957 h 1677"/>
                <a:gd name="T24" fmla="*/ 473 w 533"/>
                <a:gd name="T25" fmla="*/ 811 h 1677"/>
                <a:gd name="T26" fmla="*/ 401 w 533"/>
                <a:gd name="T27" fmla="*/ 883 h 1677"/>
                <a:gd name="T28" fmla="*/ 401 w 533"/>
                <a:gd name="T29" fmla="*/ 662 h 1677"/>
                <a:gd name="T30" fmla="*/ 473 w 533"/>
                <a:gd name="T31" fmla="*/ 734 h 1677"/>
                <a:gd name="T32" fmla="*/ 401 w 533"/>
                <a:gd name="T33" fmla="*/ 662 h 1677"/>
                <a:gd name="T34" fmla="*/ 473 w 533"/>
                <a:gd name="T35" fmla="*/ 516 h 1677"/>
                <a:gd name="T36" fmla="*/ 401 w 533"/>
                <a:gd name="T37" fmla="*/ 588 h 1677"/>
                <a:gd name="T38" fmla="*/ 288 w 533"/>
                <a:gd name="T39" fmla="*/ 1104 h 1677"/>
                <a:gd name="T40" fmla="*/ 360 w 533"/>
                <a:gd name="T41" fmla="*/ 1176 h 1677"/>
                <a:gd name="T42" fmla="*/ 288 w 533"/>
                <a:gd name="T43" fmla="*/ 1104 h 1677"/>
                <a:gd name="T44" fmla="*/ 360 w 533"/>
                <a:gd name="T45" fmla="*/ 957 h 1677"/>
                <a:gd name="T46" fmla="*/ 288 w 533"/>
                <a:gd name="T47" fmla="*/ 1029 h 1677"/>
                <a:gd name="T48" fmla="*/ 288 w 533"/>
                <a:gd name="T49" fmla="*/ 662 h 1677"/>
                <a:gd name="T50" fmla="*/ 360 w 533"/>
                <a:gd name="T51" fmla="*/ 734 h 1677"/>
                <a:gd name="T52" fmla="*/ 288 w 533"/>
                <a:gd name="T53" fmla="*/ 662 h 1677"/>
                <a:gd name="T54" fmla="*/ 360 w 533"/>
                <a:gd name="T55" fmla="*/ 516 h 1677"/>
                <a:gd name="T56" fmla="*/ 288 w 533"/>
                <a:gd name="T57" fmla="*/ 588 h 1677"/>
                <a:gd name="T58" fmla="*/ 288 w 533"/>
                <a:gd name="T59" fmla="*/ 370 h 1677"/>
                <a:gd name="T60" fmla="*/ 360 w 533"/>
                <a:gd name="T61" fmla="*/ 442 h 1677"/>
                <a:gd name="T62" fmla="*/ 288 w 533"/>
                <a:gd name="T63" fmla="*/ 370 h 1677"/>
                <a:gd name="T64" fmla="*/ 245 w 533"/>
                <a:gd name="T65" fmla="*/ 1252 h 1677"/>
                <a:gd name="T66" fmla="*/ 173 w 533"/>
                <a:gd name="T67" fmla="*/ 1324 h 1677"/>
                <a:gd name="T68" fmla="*/ 173 w 533"/>
                <a:gd name="T69" fmla="*/ 1104 h 1677"/>
                <a:gd name="T70" fmla="*/ 245 w 533"/>
                <a:gd name="T71" fmla="*/ 1176 h 1677"/>
                <a:gd name="T72" fmla="*/ 173 w 533"/>
                <a:gd name="T73" fmla="*/ 1104 h 1677"/>
                <a:gd name="T74" fmla="*/ 245 w 533"/>
                <a:gd name="T75" fmla="*/ 811 h 1677"/>
                <a:gd name="T76" fmla="*/ 173 w 533"/>
                <a:gd name="T77" fmla="*/ 883 h 1677"/>
                <a:gd name="T78" fmla="*/ 173 w 533"/>
                <a:gd name="T79" fmla="*/ 662 h 1677"/>
                <a:gd name="T80" fmla="*/ 245 w 533"/>
                <a:gd name="T81" fmla="*/ 734 h 1677"/>
                <a:gd name="T82" fmla="*/ 173 w 533"/>
                <a:gd name="T83" fmla="*/ 662 h 1677"/>
                <a:gd name="T84" fmla="*/ 245 w 533"/>
                <a:gd name="T85" fmla="*/ 516 h 1677"/>
                <a:gd name="T86" fmla="*/ 173 w 533"/>
                <a:gd name="T87" fmla="*/ 588 h 1677"/>
                <a:gd name="T88" fmla="*/ 173 w 533"/>
                <a:gd name="T89" fmla="*/ 370 h 1677"/>
                <a:gd name="T90" fmla="*/ 245 w 533"/>
                <a:gd name="T91" fmla="*/ 442 h 1677"/>
                <a:gd name="T92" fmla="*/ 173 w 533"/>
                <a:gd name="T93" fmla="*/ 370 h 1677"/>
                <a:gd name="T94" fmla="*/ 132 w 533"/>
                <a:gd name="T95" fmla="*/ 1252 h 1677"/>
                <a:gd name="T96" fmla="*/ 60 w 533"/>
                <a:gd name="T97" fmla="*/ 1324 h 1677"/>
                <a:gd name="T98" fmla="*/ 60 w 533"/>
                <a:gd name="T99" fmla="*/ 1104 h 1677"/>
                <a:gd name="T100" fmla="*/ 132 w 533"/>
                <a:gd name="T101" fmla="*/ 1176 h 1677"/>
                <a:gd name="T102" fmla="*/ 60 w 533"/>
                <a:gd name="T103" fmla="*/ 1104 h 1677"/>
                <a:gd name="T104" fmla="*/ 132 w 533"/>
                <a:gd name="T105" fmla="*/ 957 h 1677"/>
                <a:gd name="T106" fmla="*/ 60 w 533"/>
                <a:gd name="T107" fmla="*/ 1029 h 1677"/>
                <a:gd name="T108" fmla="*/ 60 w 533"/>
                <a:gd name="T109" fmla="*/ 811 h 1677"/>
                <a:gd name="T110" fmla="*/ 132 w 533"/>
                <a:gd name="T111" fmla="*/ 883 h 1677"/>
                <a:gd name="T112" fmla="*/ 60 w 533"/>
                <a:gd name="T113" fmla="*/ 811 h 1677"/>
                <a:gd name="T114" fmla="*/ 132 w 533"/>
                <a:gd name="T115" fmla="*/ 516 h 1677"/>
                <a:gd name="T116" fmla="*/ 60 w 533"/>
                <a:gd name="T117" fmla="*/ 588 h 1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1677">
                  <a:moveTo>
                    <a:pt x="0" y="204"/>
                  </a:moveTo>
                  <a:lnTo>
                    <a:pt x="0" y="1677"/>
                  </a:lnTo>
                  <a:lnTo>
                    <a:pt x="533" y="1677"/>
                  </a:lnTo>
                  <a:lnTo>
                    <a:pt x="533" y="204"/>
                  </a:lnTo>
                  <a:lnTo>
                    <a:pt x="437" y="204"/>
                  </a:lnTo>
                  <a:lnTo>
                    <a:pt x="437" y="0"/>
                  </a:lnTo>
                  <a:lnTo>
                    <a:pt x="329" y="0"/>
                  </a:lnTo>
                  <a:lnTo>
                    <a:pt x="329" y="204"/>
                  </a:lnTo>
                  <a:lnTo>
                    <a:pt x="0" y="204"/>
                  </a:lnTo>
                  <a:close/>
                  <a:moveTo>
                    <a:pt x="401" y="1252"/>
                  </a:moveTo>
                  <a:lnTo>
                    <a:pt x="473" y="1252"/>
                  </a:lnTo>
                  <a:lnTo>
                    <a:pt x="473" y="1324"/>
                  </a:lnTo>
                  <a:lnTo>
                    <a:pt x="401" y="1324"/>
                  </a:lnTo>
                  <a:lnTo>
                    <a:pt x="401" y="1252"/>
                  </a:lnTo>
                  <a:close/>
                  <a:moveTo>
                    <a:pt x="401" y="1104"/>
                  </a:moveTo>
                  <a:lnTo>
                    <a:pt x="473" y="1104"/>
                  </a:lnTo>
                  <a:lnTo>
                    <a:pt x="473" y="1176"/>
                  </a:lnTo>
                  <a:lnTo>
                    <a:pt x="401" y="1176"/>
                  </a:lnTo>
                  <a:lnTo>
                    <a:pt x="401" y="1104"/>
                  </a:lnTo>
                  <a:close/>
                  <a:moveTo>
                    <a:pt x="401" y="957"/>
                  </a:moveTo>
                  <a:lnTo>
                    <a:pt x="473" y="957"/>
                  </a:lnTo>
                  <a:lnTo>
                    <a:pt x="473" y="1029"/>
                  </a:lnTo>
                  <a:lnTo>
                    <a:pt x="401" y="1029"/>
                  </a:lnTo>
                  <a:lnTo>
                    <a:pt x="401" y="957"/>
                  </a:lnTo>
                  <a:close/>
                  <a:moveTo>
                    <a:pt x="401" y="811"/>
                  </a:moveTo>
                  <a:lnTo>
                    <a:pt x="473" y="811"/>
                  </a:lnTo>
                  <a:lnTo>
                    <a:pt x="473" y="883"/>
                  </a:lnTo>
                  <a:lnTo>
                    <a:pt x="401" y="883"/>
                  </a:lnTo>
                  <a:lnTo>
                    <a:pt x="401" y="811"/>
                  </a:lnTo>
                  <a:close/>
                  <a:moveTo>
                    <a:pt x="401" y="662"/>
                  </a:moveTo>
                  <a:lnTo>
                    <a:pt x="473" y="662"/>
                  </a:lnTo>
                  <a:lnTo>
                    <a:pt x="473" y="734"/>
                  </a:lnTo>
                  <a:lnTo>
                    <a:pt x="401" y="734"/>
                  </a:lnTo>
                  <a:lnTo>
                    <a:pt x="401" y="662"/>
                  </a:lnTo>
                  <a:close/>
                  <a:moveTo>
                    <a:pt x="401" y="516"/>
                  </a:moveTo>
                  <a:lnTo>
                    <a:pt x="473" y="516"/>
                  </a:lnTo>
                  <a:lnTo>
                    <a:pt x="473" y="588"/>
                  </a:lnTo>
                  <a:lnTo>
                    <a:pt x="401" y="588"/>
                  </a:lnTo>
                  <a:lnTo>
                    <a:pt x="401" y="516"/>
                  </a:lnTo>
                  <a:close/>
                  <a:moveTo>
                    <a:pt x="288" y="1104"/>
                  </a:moveTo>
                  <a:lnTo>
                    <a:pt x="360" y="1104"/>
                  </a:lnTo>
                  <a:lnTo>
                    <a:pt x="360" y="1176"/>
                  </a:lnTo>
                  <a:lnTo>
                    <a:pt x="288" y="1176"/>
                  </a:lnTo>
                  <a:lnTo>
                    <a:pt x="288" y="1104"/>
                  </a:lnTo>
                  <a:close/>
                  <a:moveTo>
                    <a:pt x="288" y="957"/>
                  </a:moveTo>
                  <a:lnTo>
                    <a:pt x="360" y="957"/>
                  </a:lnTo>
                  <a:lnTo>
                    <a:pt x="360" y="1029"/>
                  </a:lnTo>
                  <a:lnTo>
                    <a:pt x="288" y="1029"/>
                  </a:lnTo>
                  <a:lnTo>
                    <a:pt x="288" y="957"/>
                  </a:lnTo>
                  <a:close/>
                  <a:moveTo>
                    <a:pt x="288" y="662"/>
                  </a:moveTo>
                  <a:lnTo>
                    <a:pt x="360" y="662"/>
                  </a:lnTo>
                  <a:lnTo>
                    <a:pt x="360" y="734"/>
                  </a:lnTo>
                  <a:lnTo>
                    <a:pt x="288" y="734"/>
                  </a:lnTo>
                  <a:lnTo>
                    <a:pt x="288" y="662"/>
                  </a:lnTo>
                  <a:close/>
                  <a:moveTo>
                    <a:pt x="288" y="516"/>
                  </a:moveTo>
                  <a:lnTo>
                    <a:pt x="360" y="516"/>
                  </a:lnTo>
                  <a:lnTo>
                    <a:pt x="360" y="588"/>
                  </a:lnTo>
                  <a:lnTo>
                    <a:pt x="288" y="588"/>
                  </a:lnTo>
                  <a:lnTo>
                    <a:pt x="288" y="516"/>
                  </a:lnTo>
                  <a:close/>
                  <a:moveTo>
                    <a:pt x="288" y="370"/>
                  </a:moveTo>
                  <a:lnTo>
                    <a:pt x="360" y="370"/>
                  </a:lnTo>
                  <a:lnTo>
                    <a:pt x="360" y="442"/>
                  </a:lnTo>
                  <a:lnTo>
                    <a:pt x="288" y="442"/>
                  </a:lnTo>
                  <a:lnTo>
                    <a:pt x="288" y="370"/>
                  </a:lnTo>
                  <a:close/>
                  <a:moveTo>
                    <a:pt x="173" y="1252"/>
                  </a:moveTo>
                  <a:lnTo>
                    <a:pt x="245" y="1252"/>
                  </a:lnTo>
                  <a:lnTo>
                    <a:pt x="245" y="1324"/>
                  </a:lnTo>
                  <a:lnTo>
                    <a:pt x="173" y="1324"/>
                  </a:lnTo>
                  <a:lnTo>
                    <a:pt x="173" y="1252"/>
                  </a:lnTo>
                  <a:close/>
                  <a:moveTo>
                    <a:pt x="173" y="1104"/>
                  </a:moveTo>
                  <a:lnTo>
                    <a:pt x="245" y="1104"/>
                  </a:lnTo>
                  <a:lnTo>
                    <a:pt x="245" y="1176"/>
                  </a:lnTo>
                  <a:lnTo>
                    <a:pt x="173" y="1176"/>
                  </a:lnTo>
                  <a:lnTo>
                    <a:pt x="173" y="1104"/>
                  </a:lnTo>
                  <a:close/>
                  <a:moveTo>
                    <a:pt x="173" y="811"/>
                  </a:moveTo>
                  <a:lnTo>
                    <a:pt x="245" y="811"/>
                  </a:lnTo>
                  <a:lnTo>
                    <a:pt x="245" y="883"/>
                  </a:lnTo>
                  <a:lnTo>
                    <a:pt x="173" y="883"/>
                  </a:lnTo>
                  <a:lnTo>
                    <a:pt x="173" y="811"/>
                  </a:lnTo>
                  <a:close/>
                  <a:moveTo>
                    <a:pt x="173" y="662"/>
                  </a:moveTo>
                  <a:lnTo>
                    <a:pt x="245" y="662"/>
                  </a:lnTo>
                  <a:lnTo>
                    <a:pt x="245" y="734"/>
                  </a:lnTo>
                  <a:lnTo>
                    <a:pt x="173" y="734"/>
                  </a:lnTo>
                  <a:lnTo>
                    <a:pt x="173" y="662"/>
                  </a:lnTo>
                  <a:close/>
                  <a:moveTo>
                    <a:pt x="173" y="516"/>
                  </a:moveTo>
                  <a:lnTo>
                    <a:pt x="245" y="516"/>
                  </a:lnTo>
                  <a:lnTo>
                    <a:pt x="245" y="588"/>
                  </a:lnTo>
                  <a:lnTo>
                    <a:pt x="173" y="588"/>
                  </a:lnTo>
                  <a:lnTo>
                    <a:pt x="173" y="516"/>
                  </a:lnTo>
                  <a:close/>
                  <a:moveTo>
                    <a:pt x="173" y="370"/>
                  </a:moveTo>
                  <a:lnTo>
                    <a:pt x="245" y="370"/>
                  </a:lnTo>
                  <a:lnTo>
                    <a:pt x="245" y="442"/>
                  </a:lnTo>
                  <a:lnTo>
                    <a:pt x="173" y="442"/>
                  </a:lnTo>
                  <a:lnTo>
                    <a:pt x="173" y="370"/>
                  </a:lnTo>
                  <a:close/>
                  <a:moveTo>
                    <a:pt x="60" y="1252"/>
                  </a:moveTo>
                  <a:lnTo>
                    <a:pt x="132" y="1252"/>
                  </a:lnTo>
                  <a:lnTo>
                    <a:pt x="132" y="1324"/>
                  </a:lnTo>
                  <a:lnTo>
                    <a:pt x="60" y="1324"/>
                  </a:lnTo>
                  <a:lnTo>
                    <a:pt x="60" y="1252"/>
                  </a:lnTo>
                  <a:close/>
                  <a:moveTo>
                    <a:pt x="60" y="1104"/>
                  </a:moveTo>
                  <a:lnTo>
                    <a:pt x="132" y="1104"/>
                  </a:lnTo>
                  <a:lnTo>
                    <a:pt x="132" y="1176"/>
                  </a:lnTo>
                  <a:lnTo>
                    <a:pt x="60" y="1176"/>
                  </a:lnTo>
                  <a:lnTo>
                    <a:pt x="60" y="1104"/>
                  </a:lnTo>
                  <a:close/>
                  <a:moveTo>
                    <a:pt x="60" y="957"/>
                  </a:moveTo>
                  <a:lnTo>
                    <a:pt x="132" y="957"/>
                  </a:lnTo>
                  <a:lnTo>
                    <a:pt x="132" y="1029"/>
                  </a:lnTo>
                  <a:lnTo>
                    <a:pt x="60" y="1029"/>
                  </a:lnTo>
                  <a:lnTo>
                    <a:pt x="60" y="957"/>
                  </a:lnTo>
                  <a:close/>
                  <a:moveTo>
                    <a:pt x="60" y="811"/>
                  </a:moveTo>
                  <a:lnTo>
                    <a:pt x="132" y="811"/>
                  </a:lnTo>
                  <a:lnTo>
                    <a:pt x="132" y="883"/>
                  </a:lnTo>
                  <a:lnTo>
                    <a:pt x="60" y="883"/>
                  </a:lnTo>
                  <a:lnTo>
                    <a:pt x="60" y="811"/>
                  </a:lnTo>
                  <a:close/>
                  <a:moveTo>
                    <a:pt x="60" y="516"/>
                  </a:moveTo>
                  <a:lnTo>
                    <a:pt x="132" y="516"/>
                  </a:lnTo>
                  <a:lnTo>
                    <a:pt x="132" y="588"/>
                  </a:lnTo>
                  <a:lnTo>
                    <a:pt x="60" y="588"/>
                  </a:lnTo>
                  <a:lnTo>
                    <a:pt x="60" y="5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62" name="í$ḷiďe"/>
            <p:cNvSpPr/>
            <p:nvPr/>
          </p:nvSpPr>
          <p:spPr bwMode="auto">
            <a:xfrm>
              <a:off x="5907088" y="4092575"/>
              <a:ext cx="846138" cy="2030413"/>
            </a:xfrm>
            <a:custGeom>
              <a:avLst/>
              <a:gdLst>
                <a:gd name="T0" fmla="*/ 0 w 533"/>
                <a:gd name="T1" fmla="*/ 224 h 1279"/>
                <a:gd name="T2" fmla="*/ 0 w 533"/>
                <a:gd name="T3" fmla="*/ 1279 h 1279"/>
                <a:gd name="T4" fmla="*/ 533 w 533"/>
                <a:gd name="T5" fmla="*/ 1279 h 1279"/>
                <a:gd name="T6" fmla="*/ 533 w 533"/>
                <a:gd name="T7" fmla="*/ 224 h 1279"/>
                <a:gd name="T8" fmla="*/ 451 w 533"/>
                <a:gd name="T9" fmla="*/ 224 h 1279"/>
                <a:gd name="T10" fmla="*/ 451 w 533"/>
                <a:gd name="T11" fmla="*/ 116 h 1279"/>
                <a:gd name="T12" fmla="*/ 82 w 533"/>
                <a:gd name="T13" fmla="*/ 0 h 1279"/>
                <a:gd name="T14" fmla="*/ 82 w 533"/>
                <a:gd name="T15" fmla="*/ 224 h 1279"/>
                <a:gd name="T16" fmla="*/ 0 w 533"/>
                <a:gd name="T17" fmla="*/ 224 h 1279"/>
                <a:gd name="T18" fmla="*/ 324 w 533"/>
                <a:gd name="T19" fmla="*/ 792 h 1279"/>
                <a:gd name="T20" fmla="*/ 432 w 533"/>
                <a:gd name="T21" fmla="*/ 792 h 1279"/>
                <a:gd name="T22" fmla="*/ 432 w 533"/>
                <a:gd name="T23" fmla="*/ 900 h 1279"/>
                <a:gd name="T24" fmla="*/ 324 w 533"/>
                <a:gd name="T25" fmla="*/ 900 h 1279"/>
                <a:gd name="T26" fmla="*/ 324 w 533"/>
                <a:gd name="T27" fmla="*/ 792 h 1279"/>
                <a:gd name="T28" fmla="*/ 324 w 533"/>
                <a:gd name="T29" fmla="*/ 574 h 1279"/>
                <a:gd name="T30" fmla="*/ 432 w 533"/>
                <a:gd name="T31" fmla="*/ 574 h 1279"/>
                <a:gd name="T32" fmla="*/ 432 w 533"/>
                <a:gd name="T33" fmla="*/ 682 h 1279"/>
                <a:gd name="T34" fmla="*/ 324 w 533"/>
                <a:gd name="T35" fmla="*/ 682 h 1279"/>
                <a:gd name="T36" fmla="*/ 324 w 533"/>
                <a:gd name="T37" fmla="*/ 574 h 1279"/>
                <a:gd name="T38" fmla="*/ 324 w 533"/>
                <a:gd name="T39" fmla="*/ 355 h 1279"/>
                <a:gd name="T40" fmla="*/ 432 w 533"/>
                <a:gd name="T41" fmla="*/ 355 h 1279"/>
                <a:gd name="T42" fmla="*/ 432 w 533"/>
                <a:gd name="T43" fmla="*/ 463 h 1279"/>
                <a:gd name="T44" fmla="*/ 324 w 533"/>
                <a:gd name="T45" fmla="*/ 463 h 1279"/>
                <a:gd name="T46" fmla="*/ 324 w 533"/>
                <a:gd name="T47" fmla="*/ 355 h 1279"/>
                <a:gd name="T48" fmla="*/ 101 w 533"/>
                <a:gd name="T49" fmla="*/ 792 h 1279"/>
                <a:gd name="T50" fmla="*/ 209 w 533"/>
                <a:gd name="T51" fmla="*/ 792 h 1279"/>
                <a:gd name="T52" fmla="*/ 209 w 533"/>
                <a:gd name="T53" fmla="*/ 900 h 1279"/>
                <a:gd name="T54" fmla="*/ 101 w 533"/>
                <a:gd name="T55" fmla="*/ 900 h 1279"/>
                <a:gd name="T56" fmla="*/ 101 w 533"/>
                <a:gd name="T57" fmla="*/ 792 h 1279"/>
                <a:gd name="T58" fmla="*/ 101 w 533"/>
                <a:gd name="T59" fmla="*/ 574 h 1279"/>
                <a:gd name="T60" fmla="*/ 209 w 533"/>
                <a:gd name="T61" fmla="*/ 574 h 1279"/>
                <a:gd name="T62" fmla="*/ 209 w 533"/>
                <a:gd name="T63" fmla="*/ 682 h 1279"/>
                <a:gd name="T64" fmla="*/ 101 w 533"/>
                <a:gd name="T65" fmla="*/ 682 h 1279"/>
                <a:gd name="T66" fmla="*/ 101 w 533"/>
                <a:gd name="T67" fmla="*/ 574 h 1279"/>
                <a:gd name="T68" fmla="*/ 101 w 533"/>
                <a:gd name="T69" fmla="*/ 355 h 1279"/>
                <a:gd name="T70" fmla="*/ 209 w 533"/>
                <a:gd name="T71" fmla="*/ 355 h 1279"/>
                <a:gd name="T72" fmla="*/ 209 w 533"/>
                <a:gd name="T73" fmla="*/ 463 h 1279"/>
                <a:gd name="T74" fmla="*/ 101 w 533"/>
                <a:gd name="T75" fmla="*/ 463 h 1279"/>
                <a:gd name="T76" fmla="*/ 101 w 533"/>
                <a:gd name="T77" fmla="*/ 35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3" h="1279">
                  <a:moveTo>
                    <a:pt x="0" y="224"/>
                  </a:moveTo>
                  <a:lnTo>
                    <a:pt x="0" y="1279"/>
                  </a:lnTo>
                  <a:lnTo>
                    <a:pt x="533" y="1279"/>
                  </a:lnTo>
                  <a:lnTo>
                    <a:pt x="533" y="224"/>
                  </a:lnTo>
                  <a:lnTo>
                    <a:pt x="451" y="224"/>
                  </a:lnTo>
                  <a:lnTo>
                    <a:pt x="451" y="116"/>
                  </a:lnTo>
                  <a:lnTo>
                    <a:pt x="82" y="0"/>
                  </a:lnTo>
                  <a:lnTo>
                    <a:pt x="82" y="224"/>
                  </a:lnTo>
                  <a:lnTo>
                    <a:pt x="0" y="224"/>
                  </a:lnTo>
                  <a:close/>
                  <a:moveTo>
                    <a:pt x="324" y="792"/>
                  </a:moveTo>
                  <a:lnTo>
                    <a:pt x="432" y="792"/>
                  </a:lnTo>
                  <a:lnTo>
                    <a:pt x="432" y="900"/>
                  </a:lnTo>
                  <a:lnTo>
                    <a:pt x="324" y="900"/>
                  </a:lnTo>
                  <a:lnTo>
                    <a:pt x="324" y="792"/>
                  </a:lnTo>
                  <a:close/>
                  <a:moveTo>
                    <a:pt x="324" y="574"/>
                  </a:moveTo>
                  <a:lnTo>
                    <a:pt x="432" y="574"/>
                  </a:lnTo>
                  <a:lnTo>
                    <a:pt x="432" y="682"/>
                  </a:lnTo>
                  <a:lnTo>
                    <a:pt x="324" y="682"/>
                  </a:lnTo>
                  <a:lnTo>
                    <a:pt x="324" y="574"/>
                  </a:lnTo>
                  <a:close/>
                  <a:moveTo>
                    <a:pt x="324" y="355"/>
                  </a:moveTo>
                  <a:lnTo>
                    <a:pt x="432" y="355"/>
                  </a:lnTo>
                  <a:lnTo>
                    <a:pt x="432" y="463"/>
                  </a:lnTo>
                  <a:lnTo>
                    <a:pt x="324" y="463"/>
                  </a:lnTo>
                  <a:lnTo>
                    <a:pt x="324" y="355"/>
                  </a:lnTo>
                  <a:close/>
                  <a:moveTo>
                    <a:pt x="101" y="792"/>
                  </a:moveTo>
                  <a:lnTo>
                    <a:pt x="209" y="792"/>
                  </a:lnTo>
                  <a:lnTo>
                    <a:pt x="209" y="900"/>
                  </a:lnTo>
                  <a:lnTo>
                    <a:pt x="101" y="900"/>
                  </a:lnTo>
                  <a:lnTo>
                    <a:pt x="101" y="792"/>
                  </a:lnTo>
                  <a:close/>
                  <a:moveTo>
                    <a:pt x="101" y="574"/>
                  </a:moveTo>
                  <a:lnTo>
                    <a:pt x="209" y="574"/>
                  </a:lnTo>
                  <a:lnTo>
                    <a:pt x="209" y="682"/>
                  </a:lnTo>
                  <a:lnTo>
                    <a:pt x="101" y="682"/>
                  </a:lnTo>
                  <a:lnTo>
                    <a:pt x="101" y="574"/>
                  </a:lnTo>
                  <a:close/>
                  <a:moveTo>
                    <a:pt x="101" y="355"/>
                  </a:moveTo>
                  <a:lnTo>
                    <a:pt x="209" y="355"/>
                  </a:lnTo>
                  <a:lnTo>
                    <a:pt x="209" y="463"/>
                  </a:lnTo>
                  <a:lnTo>
                    <a:pt x="101" y="463"/>
                  </a:lnTo>
                  <a:lnTo>
                    <a:pt x="101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</p:grpSp>
      <p:grpSp>
        <p:nvGrpSpPr>
          <p:cNvPr id="47" name="isḷidé"/>
          <p:cNvGrpSpPr/>
          <p:nvPr userDrawn="1"/>
        </p:nvGrpSpPr>
        <p:grpSpPr>
          <a:xfrm flipH="1">
            <a:off x="8587607" y="4206928"/>
            <a:ext cx="2807116" cy="1687220"/>
            <a:chOff x="107951" y="2128838"/>
            <a:chExt cx="6645275" cy="399415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8" name="íŝḻïḓè"/>
            <p:cNvSpPr/>
            <p:nvPr/>
          </p:nvSpPr>
          <p:spPr bwMode="auto">
            <a:xfrm>
              <a:off x="1074738" y="3060700"/>
              <a:ext cx="844550" cy="3062288"/>
            </a:xfrm>
            <a:custGeom>
              <a:avLst/>
              <a:gdLst>
                <a:gd name="T0" fmla="*/ 0 w 532"/>
                <a:gd name="T1" fmla="*/ 355 h 1929"/>
                <a:gd name="T2" fmla="*/ 0 w 532"/>
                <a:gd name="T3" fmla="*/ 1929 h 1929"/>
                <a:gd name="T4" fmla="*/ 532 w 532"/>
                <a:gd name="T5" fmla="*/ 1929 h 1929"/>
                <a:gd name="T6" fmla="*/ 532 w 532"/>
                <a:gd name="T7" fmla="*/ 0 h 1929"/>
                <a:gd name="T8" fmla="*/ 0 w 532"/>
                <a:gd name="T9" fmla="*/ 355 h 1929"/>
                <a:gd name="T10" fmla="*/ 69 w 532"/>
                <a:gd name="T11" fmla="*/ 1502 h 1929"/>
                <a:gd name="T12" fmla="*/ 462 w 532"/>
                <a:gd name="T13" fmla="*/ 1502 h 1929"/>
                <a:gd name="T14" fmla="*/ 462 w 532"/>
                <a:gd name="T15" fmla="*/ 1543 h 1929"/>
                <a:gd name="T16" fmla="*/ 69 w 532"/>
                <a:gd name="T17" fmla="*/ 1543 h 1929"/>
                <a:gd name="T18" fmla="*/ 69 w 532"/>
                <a:gd name="T19" fmla="*/ 1502 h 1929"/>
                <a:gd name="T20" fmla="*/ 69 w 532"/>
                <a:gd name="T21" fmla="*/ 1387 h 1929"/>
                <a:gd name="T22" fmla="*/ 462 w 532"/>
                <a:gd name="T23" fmla="*/ 1387 h 1929"/>
                <a:gd name="T24" fmla="*/ 462 w 532"/>
                <a:gd name="T25" fmla="*/ 1428 h 1929"/>
                <a:gd name="T26" fmla="*/ 69 w 532"/>
                <a:gd name="T27" fmla="*/ 1428 h 1929"/>
                <a:gd name="T28" fmla="*/ 69 w 532"/>
                <a:gd name="T29" fmla="*/ 1387 h 1929"/>
                <a:gd name="T30" fmla="*/ 69 w 532"/>
                <a:gd name="T31" fmla="*/ 1272 h 1929"/>
                <a:gd name="T32" fmla="*/ 462 w 532"/>
                <a:gd name="T33" fmla="*/ 1272 h 1929"/>
                <a:gd name="T34" fmla="*/ 462 w 532"/>
                <a:gd name="T35" fmla="*/ 1315 h 1929"/>
                <a:gd name="T36" fmla="*/ 69 w 532"/>
                <a:gd name="T37" fmla="*/ 1315 h 1929"/>
                <a:gd name="T38" fmla="*/ 69 w 532"/>
                <a:gd name="T39" fmla="*/ 1272 h 1929"/>
                <a:gd name="T40" fmla="*/ 69 w 532"/>
                <a:gd name="T41" fmla="*/ 1157 h 1929"/>
                <a:gd name="T42" fmla="*/ 462 w 532"/>
                <a:gd name="T43" fmla="*/ 1157 h 1929"/>
                <a:gd name="T44" fmla="*/ 462 w 532"/>
                <a:gd name="T45" fmla="*/ 1200 h 1929"/>
                <a:gd name="T46" fmla="*/ 69 w 532"/>
                <a:gd name="T47" fmla="*/ 1200 h 1929"/>
                <a:gd name="T48" fmla="*/ 69 w 532"/>
                <a:gd name="T49" fmla="*/ 1157 h 1929"/>
                <a:gd name="T50" fmla="*/ 69 w 532"/>
                <a:gd name="T51" fmla="*/ 1044 h 1929"/>
                <a:gd name="T52" fmla="*/ 462 w 532"/>
                <a:gd name="T53" fmla="*/ 1044 h 1929"/>
                <a:gd name="T54" fmla="*/ 462 w 532"/>
                <a:gd name="T55" fmla="*/ 1085 h 1929"/>
                <a:gd name="T56" fmla="*/ 69 w 532"/>
                <a:gd name="T57" fmla="*/ 1085 h 1929"/>
                <a:gd name="T58" fmla="*/ 69 w 532"/>
                <a:gd name="T59" fmla="*/ 1044 h 1929"/>
                <a:gd name="T60" fmla="*/ 69 w 532"/>
                <a:gd name="T61" fmla="*/ 929 h 1929"/>
                <a:gd name="T62" fmla="*/ 462 w 532"/>
                <a:gd name="T63" fmla="*/ 929 h 1929"/>
                <a:gd name="T64" fmla="*/ 462 w 532"/>
                <a:gd name="T65" fmla="*/ 969 h 1929"/>
                <a:gd name="T66" fmla="*/ 69 w 532"/>
                <a:gd name="T67" fmla="*/ 969 h 1929"/>
                <a:gd name="T68" fmla="*/ 69 w 532"/>
                <a:gd name="T69" fmla="*/ 929 h 1929"/>
                <a:gd name="T70" fmla="*/ 69 w 532"/>
                <a:gd name="T71" fmla="*/ 814 h 1929"/>
                <a:gd name="T72" fmla="*/ 462 w 532"/>
                <a:gd name="T73" fmla="*/ 814 h 1929"/>
                <a:gd name="T74" fmla="*/ 462 w 532"/>
                <a:gd name="T75" fmla="*/ 854 h 1929"/>
                <a:gd name="T76" fmla="*/ 69 w 532"/>
                <a:gd name="T77" fmla="*/ 854 h 1929"/>
                <a:gd name="T78" fmla="*/ 69 w 532"/>
                <a:gd name="T79" fmla="*/ 814 h 1929"/>
                <a:gd name="T80" fmla="*/ 69 w 532"/>
                <a:gd name="T81" fmla="*/ 698 h 1929"/>
                <a:gd name="T82" fmla="*/ 462 w 532"/>
                <a:gd name="T83" fmla="*/ 698 h 1929"/>
                <a:gd name="T84" fmla="*/ 462 w 532"/>
                <a:gd name="T85" fmla="*/ 739 h 1929"/>
                <a:gd name="T86" fmla="*/ 69 w 532"/>
                <a:gd name="T87" fmla="*/ 739 h 1929"/>
                <a:gd name="T88" fmla="*/ 69 w 532"/>
                <a:gd name="T89" fmla="*/ 698 h 1929"/>
                <a:gd name="T90" fmla="*/ 69 w 532"/>
                <a:gd name="T91" fmla="*/ 583 h 1929"/>
                <a:gd name="T92" fmla="*/ 462 w 532"/>
                <a:gd name="T93" fmla="*/ 583 h 1929"/>
                <a:gd name="T94" fmla="*/ 462 w 532"/>
                <a:gd name="T95" fmla="*/ 626 h 1929"/>
                <a:gd name="T96" fmla="*/ 69 w 532"/>
                <a:gd name="T97" fmla="*/ 626 h 1929"/>
                <a:gd name="T98" fmla="*/ 69 w 532"/>
                <a:gd name="T99" fmla="*/ 583 h 1929"/>
                <a:gd name="T100" fmla="*/ 69 w 532"/>
                <a:gd name="T101" fmla="*/ 468 h 1929"/>
                <a:gd name="T102" fmla="*/ 462 w 532"/>
                <a:gd name="T103" fmla="*/ 468 h 1929"/>
                <a:gd name="T104" fmla="*/ 462 w 532"/>
                <a:gd name="T105" fmla="*/ 511 h 1929"/>
                <a:gd name="T106" fmla="*/ 69 w 532"/>
                <a:gd name="T107" fmla="*/ 511 h 1929"/>
                <a:gd name="T108" fmla="*/ 69 w 532"/>
                <a:gd name="T109" fmla="*/ 468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2" h="1929">
                  <a:moveTo>
                    <a:pt x="0" y="355"/>
                  </a:moveTo>
                  <a:lnTo>
                    <a:pt x="0" y="1929"/>
                  </a:lnTo>
                  <a:lnTo>
                    <a:pt x="532" y="1929"/>
                  </a:lnTo>
                  <a:lnTo>
                    <a:pt x="532" y="0"/>
                  </a:lnTo>
                  <a:lnTo>
                    <a:pt x="0" y="355"/>
                  </a:lnTo>
                  <a:close/>
                  <a:moveTo>
                    <a:pt x="69" y="1502"/>
                  </a:moveTo>
                  <a:lnTo>
                    <a:pt x="462" y="1502"/>
                  </a:lnTo>
                  <a:lnTo>
                    <a:pt x="462" y="1543"/>
                  </a:lnTo>
                  <a:lnTo>
                    <a:pt x="69" y="1543"/>
                  </a:lnTo>
                  <a:lnTo>
                    <a:pt x="69" y="1502"/>
                  </a:lnTo>
                  <a:close/>
                  <a:moveTo>
                    <a:pt x="69" y="1387"/>
                  </a:moveTo>
                  <a:lnTo>
                    <a:pt x="462" y="1387"/>
                  </a:lnTo>
                  <a:lnTo>
                    <a:pt x="462" y="1428"/>
                  </a:lnTo>
                  <a:lnTo>
                    <a:pt x="69" y="1428"/>
                  </a:lnTo>
                  <a:lnTo>
                    <a:pt x="69" y="1387"/>
                  </a:lnTo>
                  <a:close/>
                  <a:moveTo>
                    <a:pt x="69" y="1272"/>
                  </a:moveTo>
                  <a:lnTo>
                    <a:pt x="462" y="1272"/>
                  </a:lnTo>
                  <a:lnTo>
                    <a:pt x="462" y="1315"/>
                  </a:lnTo>
                  <a:lnTo>
                    <a:pt x="69" y="1315"/>
                  </a:lnTo>
                  <a:lnTo>
                    <a:pt x="69" y="1272"/>
                  </a:lnTo>
                  <a:close/>
                  <a:moveTo>
                    <a:pt x="69" y="1157"/>
                  </a:moveTo>
                  <a:lnTo>
                    <a:pt x="462" y="1157"/>
                  </a:lnTo>
                  <a:lnTo>
                    <a:pt x="462" y="1200"/>
                  </a:lnTo>
                  <a:lnTo>
                    <a:pt x="69" y="1200"/>
                  </a:lnTo>
                  <a:lnTo>
                    <a:pt x="69" y="1157"/>
                  </a:lnTo>
                  <a:close/>
                  <a:moveTo>
                    <a:pt x="69" y="1044"/>
                  </a:moveTo>
                  <a:lnTo>
                    <a:pt x="462" y="1044"/>
                  </a:lnTo>
                  <a:lnTo>
                    <a:pt x="462" y="1085"/>
                  </a:lnTo>
                  <a:lnTo>
                    <a:pt x="69" y="1085"/>
                  </a:lnTo>
                  <a:lnTo>
                    <a:pt x="69" y="1044"/>
                  </a:lnTo>
                  <a:close/>
                  <a:moveTo>
                    <a:pt x="69" y="929"/>
                  </a:moveTo>
                  <a:lnTo>
                    <a:pt x="462" y="929"/>
                  </a:lnTo>
                  <a:lnTo>
                    <a:pt x="462" y="969"/>
                  </a:lnTo>
                  <a:lnTo>
                    <a:pt x="69" y="969"/>
                  </a:lnTo>
                  <a:lnTo>
                    <a:pt x="69" y="929"/>
                  </a:lnTo>
                  <a:close/>
                  <a:moveTo>
                    <a:pt x="69" y="814"/>
                  </a:moveTo>
                  <a:lnTo>
                    <a:pt x="462" y="814"/>
                  </a:lnTo>
                  <a:lnTo>
                    <a:pt x="462" y="854"/>
                  </a:lnTo>
                  <a:lnTo>
                    <a:pt x="69" y="854"/>
                  </a:lnTo>
                  <a:lnTo>
                    <a:pt x="69" y="814"/>
                  </a:lnTo>
                  <a:close/>
                  <a:moveTo>
                    <a:pt x="69" y="698"/>
                  </a:moveTo>
                  <a:lnTo>
                    <a:pt x="462" y="698"/>
                  </a:lnTo>
                  <a:lnTo>
                    <a:pt x="462" y="739"/>
                  </a:lnTo>
                  <a:lnTo>
                    <a:pt x="69" y="739"/>
                  </a:lnTo>
                  <a:lnTo>
                    <a:pt x="69" y="698"/>
                  </a:lnTo>
                  <a:close/>
                  <a:moveTo>
                    <a:pt x="69" y="583"/>
                  </a:moveTo>
                  <a:lnTo>
                    <a:pt x="462" y="583"/>
                  </a:lnTo>
                  <a:lnTo>
                    <a:pt x="462" y="626"/>
                  </a:lnTo>
                  <a:lnTo>
                    <a:pt x="69" y="626"/>
                  </a:lnTo>
                  <a:lnTo>
                    <a:pt x="69" y="583"/>
                  </a:lnTo>
                  <a:close/>
                  <a:moveTo>
                    <a:pt x="69" y="468"/>
                  </a:moveTo>
                  <a:lnTo>
                    <a:pt x="462" y="468"/>
                  </a:lnTo>
                  <a:lnTo>
                    <a:pt x="462" y="511"/>
                  </a:lnTo>
                  <a:lnTo>
                    <a:pt x="69" y="511"/>
                  </a:lnTo>
                  <a:lnTo>
                    <a:pt x="69" y="4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49" name="iŝļïďe"/>
            <p:cNvSpPr/>
            <p:nvPr/>
          </p:nvSpPr>
          <p:spPr bwMode="auto">
            <a:xfrm>
              <a:off x="107951" y="3571875"/>
              <a:ext cx="844550" cy="2551113"/>
            </a:xfrm>
            <a:custGeom>
              <a:avLst/>
              <a:gdLst>
                <a:gd name="T0" fmla="*/ 0 w 532"/>
                <a:gd name="T1" fmla="*/ 314 h 1607"/>
                <a:gd name="T2" fmla="*/ 0 w 532"/>
                <a:gd name="T3" fmla="*/ 1607 h 1607"/>
                <a:gd name="T4" fmla="*/ 532 w 532"/>
                <a:gd name="T5" fmla="*/ 1607 h 1607"/>
                <a:gd name="T6" fmla="*/ 532 w 532"/>
                <a:gd name="T7" fmla="*/ 314 h 1607"/>
                <a:gd name="T8" fmla="*/ 347 w 532"/>
                <a:gd name="T9" fmla="*/ 314 h 1607"/>
                <a:gd name="T10" fmla="*/ 347 w 532"/>
                <a:gd name="T11" fmla="*/ 192 h 1607"/>
                <a:gd name="T12" fmla="*/ 242 w 532"/>
                <a:gd name="T13" fmla="*/ 192 h 1607"/>
                <a:gd name="T14" fmla="*/ 242 w 532"/>
                <a:gd name="T15" fmla="*/ 314 h 1607"/>
                <a:gd name="T16" fmla="*/ 163 w 532"/>
                <a:gd name="T17" fmla="*/ 314 h 1607"/>
                <a:gd name="T18" fmla="*/ 163 w 532"/>
                <a:gd name="T19" fmla="*/ 0 h 1607"/>
                <a:gd name="T20" fmla="*/ 55 w 532"/>
                <a:gd name="T21" fmla="*/ 0 h 1607"/>
                <a:gd name="T22" fmla="*/ 55 w 532"/>
                <a:gd name="T23" fmla="*/ 314 h 1607"/>
                <a:gd name="T24" fmla="*/ 0 w 532"/>
                <a:gd name="T25" fmla="*/ 314 h 1607"/>
                <a:gd name="T26" fmla="*/ 335 w 532"/>
                <a:gd name="T27" fmla="*/ 1226 h 1607"/>
                <a:gd name="T28" fmla="*/ 438 w 532"/>
                <a:gd name="T29" fmla="*/ 1226 h 1607"/>
                <a:gd name="T30" fmla="*/ 438 w 532"/>
                <a:gd name="T31" fmla="*/ 1329 h 1607"/>
                <a:gd name="T32" fmla="*/ 335 w 532"/>
                <a:gd name="T33" fmla="*/ 1329 h 1607"/>
                <a:gd name="T34" fmla="*/ 335 w 532"/>
                <a:gd name="T35" fmla="*/ 1226 h 1607"/>
                <a:gd name="T36" fmla="*/ 335 w 532"/>
                <a:gd name="T37" fmla="*/ 1034 h 1607"/>
                <a:gd name="T38" fmla="*/ 438 w 532"/>
                <a:gd name="T39" fmla="*/ 1034 h 1607"/>
                <a:gd name="T40" fmla="*/ 438 w 532"/>
                <a:gd name="T41" fmla="*/ 1137 h 1607"/>
                <a:gd name="T42" fmla="*/ 335 w 532"/>
                <a:gd name="T43" fmla="*/ 1137 h 1607"/>
                <a:gd name="T44" fmla="*/ 335 w 532"/>
                <a:gd name="T45" fmla="*/ 1034 h 1607"/>
                <a:gd name="T46" fmla="*/ 335 w 532"/>
                <a:gd name="T47" fmla="*/ 842 h 1607"/>
                <a:gd name="T48" fmla="*/ 438 w 532"/>
                <a:gd name="T49" fmla="*/ 842 h 1607"/>
                <a:gd name="T50" fmla="*/ 438 w 532"/>
                <a:gd name="T51" fmla="*/ 947 h 1607"/>
                <a:gd name="T52" fmla="*/ 335 w 532"/>
                <a:gd name="T53" fmla="*/ 947 h 1607"/>
                <a:gd name="T54" fmla="*/ 335 w 532"/>
                <a:gd name="T55" fmla="*/ 842 h 1607"/>
                <a:gd name="T56" fmla="*/ 335 w 532"/>
                <a:gd name="T57" fmla="*/ 652 h 1607"/>
                <a:gd name="T58" fmla="*/ 438 w 532"/>
                <a:gd name="T59" fmla="*/ 652 h 1607"/>
                <a:gd name="T60" fmla="*/ 438 w 532"/>
                <a:gd name="T61" fmla="*/ 755 h 1607"/>
                <a:gd name="T62" fmla="*/ 335 w 532"/>
                <a:gd name="T63" fmla="*/ 755 h 1607"/>
                <a:gd name="T64" fmla="*/ 335 w 532"/>
                <a:gd name="T65" fmla="*/ 652 h 1607"/>
                <a:gd name="T66" fmla="*/ 335 w 532"/>
                <a:gd name="T67" fmla="*/ 460 h 1607"/>
                <a:gd name="T68" fmla="*/ 438 w 532"/>
                <a:gd name="T69" fmla="*/ 460 h 1607"/>
                <a:gd name="T70" fmla="*/ 438 w 532"/>
                <a:gd name="T71" fmla="*/ 566 h 1607"/>
                <a:gd name="T72" fmla="*/ 335 w 532"/>
                <a:gd name="T73" fmla="*/ 566 h 1607"/>
                <a:gd name="T74" fmla="*/ 335 w 532"/>
                <a:gd name="T75" fmla="*/ 460 h 1607"/>
                <a:gd name="T76" fmla="*/ 93 w 532"/>
                <a:gd name="T77" fmla="*/ 1226 h 1607"/>
                <a:gd name="T78" fmla="*/ 196 w 532"/>
                <a:gd name="T79" fmla="*/ 1226 h 1607"/>
                <a:gd name="T80" fmla="*/ 196 w 532"/>
                <a:gd name="T81" fmla="*/ 1329 h 1607"/>
                <a:gd name="T82" fmla="*/ 93 w 532"/>
                <a:gd name="T83" fmla="*/ 1329 h 1607"/>
                <a:gd name="T84" fmla="*/ 93 w 532"/>
                <a:gd name="T85" fmla="*/ 1226 h 1607"/>
                <a:gd name="T86" fmla="*/ 93 w 532"/>
                <a:gd name="T87" fmla="*/ 1034 h 1607"/>
                <a:gd name="T88" fmla="*/ 196 w 532"/>
                <a:gd name="T89" fmla="*/ 1034 h 1607"/>
                <a:gd name="T90" fmla="*/ 196 w 532"/>
                <a:gd name="T91" fmla="*/ 1137 h 1607"/>
                <a:gd name="T92" fmla="*/ 93 w 532"/>
                <a:gd name="T93" fmla="*/ 1137 h 1607"/>
                <a:gd name="T94" fmla="*/ 93 w 532"/>
                <a:gd name="T95" fmla="*/ 1034 h 1607"/>
                <a:gd name="T96" fmla="*/ 93 w 532"/>
                <a:gd name="T97" fmla="*/ 842 h 1607"/>
                <a:gd name="T98" fmla="*/ 196 w 532"/>
                <a:gd name="T99" fmla="*/ 842 h 1607"/>
                <a:gd name="T100" fmla="*/ 196 w 532"/>
                <a:gd name="T101" fmla="*/ 947 h 1607"/>
                <a:gd name="T102" fmla="*/ 93 w 532"/>
                <a:gd name="T103" fmla="*/ 947 h 1607"/>
                <a:gd name="T104" fmla="*/ 93 w 532"/>
                <a:gd name="T105" fmla="*/ 842 h 1607"/>
                <a:gd name="T106" fmla="*/ 93 w 532"/>
                <a:gd name="T107" fmla="*/ 652 h 1607"/>
                <a:gd name="T108" fmla="*/ 196 w 532"/>
                <a:gd name="T109" fmla="*/ 652 h 1607"/>
                <a:gd name="T110" fmla="*/ 196 w 532"/>
                <a:gd name="T111" fmla="*/ 755 h 1607"/>
                <a:gd name="T112" fmla="*/ 93 w 532"/>
                <a:gd name="T113" fmla="*/ 755 h 1607"/>
                <a:gd name="T114" fmla="*/ 93 w 532"/>
                <a:gd name="T115" fmla="*/ 652 h 1607"/>
                <a:gd name="T116" fmla="*/ 93 w 532"/>
                <a:gd name="T117" fmla="*/ 460 h 1607"/>
                <a:gd name="T118" fmla="*/ 196 w 532"/>
                <a:gd name="T119" fmla="*/ 460 h 1607"/>
                <a:gd name="T120" fmla="*/ 196 w 532"/>
                <a:gd name="T121" fmla="*/ 566 h 1607"/>
                <a:gd name="T122" fmla="*/ 93 w 532"/>
                <a:gd name="T123" fmla="*/ 566 h 1607"/>
                <a:gd name="T124" fmla="*/ 93 w 532"/>
                <a:gd name="T125" fmla="*/ 46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2" h="1607">
                  <a:moveTo>
                    <a:pt x="0" y="314"/>
                  </a:moveTo>
                  <a:lnTo>
                    <a:pt x="0" y="1607"/>
                  </a:lnTo>
                  <a:lnTo>
                    <a:pt x="532" y="1607"/>
                  </a:lnTo>
                  <a:lnTo>
                    <a:pt x="532" y="314"/>
                  </a:lnTo>
                  <a:lnTo>
                    <a:pt x="347" y="314"/>
                  </a:lnTo>
                  <a:lnTo>
                    <a:pt x="347" y="192"/>
                  </a:lnTo>
                  <a:lnTo>
                    <a:pt x="242" y="192"/>
                  </a:lnTo>
                  <a:lnTo>
                    <a:pt x="242" y="314"/>
                  </a:lnTo>
                  <a:lnTo>
                    <a:pt x="163" y="314"/>
                  </a:lnTo>
                  <a:lnTo>
                    <a:pt x="163" y="0"/>
                  </a:lnTo>
                  <a:lnTo>
                    <a:pt x="55" y="0"/>
                  </a:lnTo>
                  <a:lnTo>
                    <a:pt x="55" y="314"/>
                  </a:lnTo>
                  <a:lnTo>
                    <a:pt x="0" y="314"/>
                  </a:lnTo>
                  <a:close/>
                  <a:moveTo>
                    <a:pt x="335" y="1226"/>
                  </a:moveTo>
                  <a:lnTo>
                    <a:pt x="438" y="1226"/>
                  </a:lnTo>
                  <a:lnTo>
                    <a:pt x="438" y="1329"/>
                  </a:lnTo>
                  <a:lnTo>
                    <a:pt x="335" y="1329"/>
                  </a:lnTo>
                  <a:lnTo>
                    <a:pt x="335" y="1226"/>
                  </a:lnTo>
                  <a:close/>
                  <a:moveTo>
                    <a:pt x="335" y="1034"/>
                  </a:moveTo>
                  <a:lnTo>
                    <a:pt x="438" y="1034"/>
                  </a:lnTo>
                  <a:lnTo>
                    <a:pt x="438" y="1137"/>
                  </a:lnTo>
                  <a:lnTo>
                    <a:pt x="335" y="1137"/>
                  </a:lnTo>
                  <a:lnTo>
                    <a:pt x="335" y="1034"/>
                  </a:lnTo>
                  <a:close/>
                  <a:moveTo>
                    <a:pt x="335" y="842"/>
                  </a:moveTo>
                  <a:lnTo>
                    <a:pt x="438" y="842"/>
                  </a:lnTo>
                  <a:lnTo>
                    <a:pt x="438" y="947"/>
                  </a:lnTo>
                  <a:lnTo>
                    <a:pt x="335" y="947"/>
                  </a:lnTo>
                  <a:lnTo>
                    <a:pt x="335" y="842"/>
                  </a:lnTo>
                  <a:close/>
                  <a:moveTo>
                    <a:pt x="335" y="652"/>
                  </a:moveTo>
                  <a:lnTo>
                    <a:pt x="438" y="652"/>
                  </a:lnTo>
                  <a:lnTo>
                    <a:pt x="438" y="755"/>
                  </a:lnTo>
                  <a:lnTo>
                    <a:pt x="335" y="755"/>
                  </a:lnTo>
                  <a:lnTo>
                    <a:pt x="335" y="652"/>
                  </a:lnTo>
                  <a:close/>
                  <a:moveTo>
                    <a:pt x="335" y="460"/>
                  </a:moveTo>
                  <a:lnTo>
                    <a:pt x="438" y="460"/>
                  </a:lnTo>
                  <a:lnTo>
                    <a:pt x="438" y="566"/>
                  </a:lnTo>
                  <a:lnTo>
                    <a:pt x="335" y="566"/>
                  </a:lnTo>
                  <a:lnTo>
                    <a:pt x="335" y="460"/>
                  </a:lnTo>
                  <a:close/>
                  <a:moveTo>
                    <a:pt x="93" y="1226"/>
                  </a:moveTo>
                  <a:lnTo>
                    <a:pt x="196" y="1226"/>
                  </a:lnTo>
                  <a:lnTo>
                    <a:pt x="196" y="1329"/>
                  </a:lnTo>
                  <a:lnTo>
                    <a:pt x="93" y="1329"/>
                  </a:lnTo>
                  <a:lnTo>
                    <a:pt x="93" y="1226"/>
                  </a:lnTo>
                  <a:close/>
                  <a:moveTo>
                    <a:pt x="93" y="1034"/>
                  </a:moveTo>
                  <a:lnTo>
                    <a:pt x="196" y="1034"/>
                  </a:lnTo>
                  <a:lnTo>
                    <a:pt x="196" y="1137"/>
                  </a:lnTo>
                  <a:lnTo>
                    <a:pt x="93" y="1137"/>
                  </a:lnTo>
                  <a:lnTo>
                    <a:pt x="93" y="1034"/>
                  </a:lnTo>
                  <a:close/>
                  <a:moveTo>
                    <a:pt x="93" y="842"/>
                  </a:moveTo>
                  <a:lnTo>
                    <a:pt x="196" y="842"/>
                  </a:lnTo>
                  <a:lnTo>
                    <a:pt x="196" y="947"/>
                  </a:lnTo>
                  <a:lnTo>
                    <a:pt x="93" y="947"/>
                  </a:lnTo>
                  <a:lnTo>
                    <a:pt x="93" y="842"/>
                  </a:lnTo>
                  <a:close/>
                  <a:moveTo>
                    <a:pt x="93" y="652"/>
                  </a:moveTo>
                  <a:lnTo>
                    <a:pt x="196" y="652"/>
                  </a:lnTo>
                  <a:lnTo>
                    <a:pt x="196" y="755"/>
                  </a:lnTo>
                  <a:lnTo>
                    <a:pt x="93" y="755"/>
                  </a:lnTo>
                  <a:lnTo>
                    <a:pt x="93" y="652"/>
                  </a:lnTo>
                  <a:close/>
                  <a:moveTo>
                    <a:pt x="93" y="460"/>
                  </a:moveTo>
                  <a:lnTo>
                    <a:pt x="196" y="460"/>
                  </a:lnTo>
                  <a:lnTo>
                    <a:pt x="196" y="566"/>
                  </a:lnTo>
                  <a:lnTo>
                    <a:pt x="93" y="566"/>
                  </a:lnTo>
                  <a:lnTo>
                    <a:pt x="93" y="4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0" name="işḻîdê"/>
            <p:cNvSpPr/>
            <p:nvPr/>
          </p:nvSpPr>
          <p:spPr bwMode="auto">
            <a:xfrm>
              <a:off x="3008313" y="2128838"/>
              <a:ext cx="844550" cy="3994150"/>
            </a:xfrm>
            <a:custGeom>
              <a:avLst/>
              <a:gdLst>
                <a:gd name="T0" fmla="*/ 0 w 532"/>
                <a:gd name="T1" fmla="*/ 463 h 2516"/>
                <a:gd name="T2" fmla="*/ 0 w 532"/>
                <a:gd name="T3" fmla="*/ 2516 h 2516"/>
                <a:gd name="T4" fmla="*/ 532 w 532"/>
                <a:gd name="T5" fmla="*/ 2516 h 2516"/>
                <a:gd name="T6" fmla="*/ 532 w 532"/>
                <a:gd name="T7" fmla="*/ 463 h 2516"/>
                <a:gd name="T8" fmla="*/ 258 w 532"/>
                <a:gd name="T9" fmla="*/ 0 h 2516"/>
                <a:gd name="T10" fmla="*/ 0 w 532"/>
                <a:gd name="T11" fmla="*/ 463 h 2516"/>
                <a:gd name="T12" fmla="*/ 371 w 532"/>
                <a:gd name="T13" fmla="*/ 1832 h 2516"/>
                <a:gd name="T14" fmla="*/ 443 w 532"/>
                <a:gd name="T15" fmla="*/ 1832 h 2516"/>
                <a:gd name="T16" fmla="*/ 443 w 532"/>
                <a:gd name="T17" fmla="*/ 2139 h 2516"/>
                <a:gd name="T18" fmla="*/ 371 w 532"/>
                <a:gd name="T19" fmla="*/ 2139 h 2516"/>
                <a:gd name="T20" fmla="*/ 371 w 532"/>
                <a:gd name="T21" fmla="*/ 1832 h 2516"/>
                <a:gd name="T22" fmla="*/ 371 w 532"/>
                <a:gd name="T23" fmla="*/ 1432 h 2516"/>
                <a:gd name="T24" fmla="*/ 443 w 532"/>
                <a:gd name="T25" fmla="*/ 1432 h 2516"/>
                <a:gd name="T26" fmla="*/ 443 w 532"/>
                <a:gd name="T27" fmla="*/ 1739 h 2516"/>
                <a:gd name="T28" fmla="*/ 371 w 532"/>
                <a:gd name="T29" fmla="*/ 1739 h 2516"/>
                <a:gd name="T30" fmla="*/ 371 w 532"/>
                <a:gd name="T31" fmla="*/ 1432 h 2516"/>
                <a:gd name="T32" fmla="*/ 371 w 532"/>
                <a:gd name="T33" fmla="*/ 630 h 2516"/>
                <a:gd name="T34" fmla="*/ 443 w 532"/>
                <a:gd name="T35" fmla="*/ 630 h 2516"/>
                <a:gd name="T36" fmla="*/ 443 w 532"/>
                <a:gd name="T37" fmla="*/ 938 h 2516"/>
                <a:gd name="T38" fmla="*/ 371 w 532"/>
                <a:gd name="T39" fmla="*/ 938 h 2516"/>
                <a:gd name="T40" fmla="*/ 371 w 532"/>
                <a:gd name="T41" fmla="*/ 630 h 2516"/>
                <a:gd name="T42" fmla="*/ 230 w 532"/>
                <a:gd name="T43" fmla="*/ 1832 h 2516"/>
                <a:gd name="T44" fmla="*/ 302 w 532"/>
                <a:gd name="T45" fmla="*/ 1832 h 2516"/>
                <a:gd name="T46" fmla="*/ 302 w 532"/>
                <a:gd name="T47" fmla="*/ 2139 h 2516"/>
                <a:gd name="T48" fmla="*/ 230 w 532"/>
                <a:gd name="T49" fmla="*/ 2139 h 2516"/>
                <a:gd name="T50" fmla="*/ 230 w 532"/>
                <a:gd name="T51" fmla="*/ 1832 h 2516"/>
                <a:gd name="T52" fmla="*/ 230 w 532"/>
                <a:gd name="T53" fmla="*/ 1432 h 2516"/>
                <a:gd name="T54" fmla="*/ 302 w 532"/>
                <a:gd name="T55" fmla="*/ 1432 h 2516"/>
                <a:gd name="T56" fmla="*/ 302 w 532"/>
                <a:gd name="T57" fmla="*/ 1739 h 2516"/>
                <a:gd name="T58" fmla="*/ 230 w 532"/>
                <a:gd name="T59" fmla="*/ 1739 h 2516"/>
                <a:gd name="T60" fmla="*/ 230 w 532"/>
                <a:gd name="T61" fmla="*/ 1432 h 2516"/>
                <a:gd name="T62" fmla="*/ 230 w 532"/>
                <a:gd name="T63" fmla="*/ 1031 h 2516"/>
                <a:gd name="T64" fmla="*/ 302 w 532"/>
                <a:gd name="T65" fmla="*/ 1031 h 2516"/>
                <a:gd name="T66" fmla="*/ 302 w 532"/>
                <a:gd name="T67" fmla="*/ 1338 h 2516"/>
                <a:gd name="T68" fmla="*/ 230 w 532"/>
                <a:gd name="T69" fmla="*/ 1338 h 2516"/>
                <a:gd name="T70" fmla="*/ 230 w 532"/>
                <a:gd name="T71" fmla="*/ 1031 h 2516"/>
                <a:gd name="T72" fmla="*/ 230 w 532"/>
                <a:gd name="T73" fmla="*/ 630 h 2516"/>
                <a:gd name="T74" fmla="*/ 302 w 532"/>
                <a:gd name="T75" fmla="*/ 630 h 2516"/>
                <a:gd name="T76" fmla="*/ 302 w 532"/>
                <a:gd name="T77" fmla="*/ 938 h 2516"/>
                <a:gd name="T78" fmla="*/ 230 w 532"/>
                <a:gd name="T79" fmla="*/ 938 h 2516"/>
                <a:gd name="T80" fmla="*/ 230 w 532"/>
                <a:gd name="T81" fmla="*/ 630 h 2516"/>
                <a:gd name="T82" fmla="*/ 88 w 532"/>
                <a:gd name="T83" fmla="*/ 1832 h 2516"/>
                <a:gd name="T84" fmla="*/ 160 w 532"/>
                <a:gd name="T85" fmla="*/ 1832 h 2516"/>
                <a:gd name="T86" fmla="*/ 160 w 532"/>
                <a:gd name="T87" fmla="*/ 2139 h 2516"/>
                <a:gd name="T88" fmla="*/ 88 w 532"/>
                <a:gd name="T89" fmla="*/ 2139 h 2516"/>
                <a:gd name="T90" fmla="*/ 88 w 532"/>
                <a:gd name="T91" fmla="*/ 1832 h 2516"/>
                <a:gd name="T92" fmla="*/ 88 w 532"/>
                <a:gd name="T93" fmla="*/ 1031 h 2516"/>
                <a:gd name="T94" fmla="*/ 160 w 532"/>
                <a:gd name="T95" fmla="*/ 1031 h 2516"/>
                <a:gd name="T96" fmla="*/ 160 w 532"/>
                <a:gd name="T97" fmla="*/ 1338 h 2516"/>
                <a:gd name="T98" fmla="*/ 88 w 532"/>
                <a:gd name="T99" fmla="*/ 1338 h 2516"/>
                <a:gd name="T100" fmla="*/ 88 w 532"/>
                <a:gd name="T101" fmla="*/ 1031 h 2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32" h="2516">
                  <a:moveTo>
                    <a:pt x="0" y="463"/>
                  </a:moveTo>
                  <a:lnTo>
                    <a:pt x="0" y="2516"/>
                  </a:lnTo>
                  <a:lnTo>
                    <a:pt x="532" y="2516"/>
                  </a:lnTo>
                  <a:lnTo>
                    <a:pt x="532" y="463"/>
                  </a:lnTo>
                  <a:lnTo>
                    <a:pt x="258" y="0"/>
                  </a:lnTo>
                  <a:lnTo>
                    <a:pt x="0" y="463"/>
                  </a:lnTo>
                  <a:close/>
                  <a:moveTo>
                    <a:pt x="371" y="1832"/>
                  </a:moveTo>
                  <a:lnTo>
                    <a:pt x="443" y="1832"/>
                  </a:lnTo>
                  <a:lnTo>
                    <a:pt x="443" y="2139"/>
                  </a:lnTo>
                  <a:lnTo>
                    <a:pt x="371" y="2139"/>
                  </a:lnTo>
                  <a:lnTo>
                    <a:pt x="371" y="1832"/>
                  </a:lnTo>
                  <a:close/>
                  <a:moveTo>
                    <a:pt x="371" y="1432"/>
                  </a:moveTo>
                  <a:lnTo>
                    <a:pt x="443" y="1432"/>
                  </a:lnTo>
                  <a:lnTo>
                    <a:pt x="443" y="1739"/>
                  </a:lnTo>
                  <a:lnTo>
                    <a:pt x="371" y="1739"/>
                  </a:lnTo>
                  <a:lnTo>
                    <a:pt x="371" y="1432"/>
                  </a:lnTo>
                  <a:close/>
                  <a:moveTo>
                    <a:pt x="371" y="630"/>
                  </a:moveTo>
                  <a:lnTo>
                    <a:pt x="443" y="630"/>
                  </a:lnTo>
                  <a:lnTo>
                    <a:pt x="443" y="938"/>
                  </a:lnTo>
                  <a:lnTo>
                    <a:pt x="371" y="938"/>
                  </a:lnTo>
                  <a:lnTo>
                    <a:pt x="371" y="630"/>
                  </a:lnTo>
                  <a:close/>
                  <a:moveTo>
                    <a:pt x="230" y="1832"/>
                  </a:moveTo>
                  <a:lnTo>
                    <a:pt x="302" y="1832"/>
                  </a:lnTo>
                  <a:lnTo>
                    <a:pt x="302" y="2139"/>
                  </a:lnTo>
                  <a:lnTo>
                    <a:pt x="230" y="2139"/>
                  </a:lnTo>
                  <a:lnTo>
                    <a:pt x="230" y="1832"/>
                  </a:lnTo>
                  <a:close/>
                  <a:moveTo>
                    <a:pt x="230" y="1432"/>
                  </a:moveTo>
                  <a:lnTo>
                    <a:pt x="302" y="1432"/>
                  </a:lnTo>
                  <a:lnTo>
                    <a:pt x="302" y="1739"/>
                  </a:lnTo>
                  <a:lnTo>
                    <a:pt x="230" y="1739"/>
                  </a:lnTo>
                  <a:lnTo>
                    <a:pt x="230" y="1432"/>
                  </a:lnTo>
                  <a:close/>
                  <a:moveTo>
                    <a:pt x="230" y="1031"/>
                  </a:moveTo>
                  <a:lnTo>
                    <a:pt x="302" y="1031"/>
                  </a:lnTo>
                  <a:lnTo>
                    <a:pt x="302" y="1338"/>
                  </a:lnTo>
                  <a:lnTo>
                    <a:pt x="230" y="1338"/>
                  </a:lnTo>
                  <a:lnTo>
                    <a:pt x="230" y="1031"/>
                  </a:lnTo>
                  <a:close/>
                  <a:moveTo>
                    <a:pt x="230" y="630"/>
                  </a:moveTo>
                  <a:lnTo>
                    <a:pt x="302" y="630"/>
                  </a:lnTo>
                  <a:lnTo>
                    <a:pt x="302" y="938"/>
                  </a:lnTo>
                  <a:lnTo>
                    <a:pt x="230" y="938"/>
                  </a:lnTo>
                  <a:lnTo>
                    <a:pt x="230" y="630"/>
                  </a:lnTo>
                  <a:close/>
                  <a:moveTo>
                    <a:pt x="88" y="1832"/>
                  </a:moveTo>
                  <a:lnTo>
                    <a:pt x="160" y="1832"/>
                  </a:lnTo>
                  <a:lnTo>
                    <a:pt x="160" y="2139"/>
                  </a:lnTo>
                  <a:lnTo>
                    <a:pt x="88" y="2139"/>
                  </a:lnTo>
                  <a:lnTo>
                    <a:pt x="88" y="1832"/>
                  </a:lnTo>
                  <a:close/>
                  <a:moveTo>
                    <a:pt x="88" y="1031"/>
                  </a:moveTo>
                  <a:lnTo>
                    <a:pt x="160" y="1031"/>
                  </a:lnTo>
                  <a:lnTo>
                    <a:pt x="160" y="1338"/>
                  </a:lnTo>
                  <a:lnTo>
                    <a:pt x="88" y="1338"/>
                  </a:lnTo>
                  <a:lnTo>
                    <a:pt x="88" y="10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1" name="îṡḻïḍê"/>
            <p:cNvSpPr/>
            <p:nvPr/>
          </p:nvSpPr>
          <p:spPr bwMode="auto">
            <a:xfrm>
              <a:off x="2041526" y="3784600"/>
              <a:ext cx="844550" cy="2338388"/>
            </a:xfrm>
            <a:custGeom>
              <a:avLst/>
              <a:gdLst>
                <a:gd name="T0" fmla="*/ 0 w 532"/>
                <a:gd name="T1" fmla="*/ 384 h 1473"/>
                <a:gd name="T2" fmla="*/ 0 w 532"/>
                <a:gd name="T3" fmla="*/ 1473 h 1473"/>
                <a:gd name="T4" fmla="*/ 532 w 532"/>
                <a:gd name="T5" fmla="*/ 1473 h 1473"/>
                <a:gd name="T6" fmla="*/ 532 w 532"/>
                <a:gd name="T7" fmla="*/ 384 h 1473"/>
                <a:gd name="T8" fmla="*/ 465 w 532"/>
                <a:gd name="T9" fmla="*/ 384 h 1473"/>
                <a:gd name="T10" fmla="*/ 465 w 532"/>
                <a:gd name="T11" fmla="*/ 283 h 1473"/>
                <a:gd name="T12" fmla="*/ 388 w 532"/>
                <a:gd name="T13" fmla="*/ 283 h 1473"/>
                <a:gd name="T14" fmla="*/ 388 w 532"/>
                <a:gd name="T15" fmla="*/ 0 h 1473"/>
                <a:gd name="T16" fmla="*/ 143 w 532"/>
                <a:gd name="T17" fmla="*/ 0 h 1473"/>
                <a:gd name="T18" fmla="*/ 143 w 532"/>
                <a:gd name="T19" fmla="*/ 283 h 1473"/>
                <a:gd name="T20" fmla="*/ 67 w 532"/>
                <a:gd name="T21" fmla="*/ 283 h 1473"/>
                <a:gd name="T22" fmla="*/ 67 w 532"/>
                <a:gd name="T23" fmla="*/ 384 h 1473"/>
                <a:gd name="T24" fmla="*/ 0 w 532"/>
                <a:gd name="T25" fmla="*/ 384 h 1473"/>
                <a:gd name="T26" fmla="*/ 362 w 532"/>
                <a:gd name="T27" fmla="*/ 1029 h 1473"/>
                <a:gd name="T28" fmla="*/ 457 w 532"/>
                <a:gd name="T29" fmla="*/ 1029 h 1473"/>
                <a:gd name="T30" fmla="*/ 457 w 532"/>
                <a:gd name="T31" fmla="*/ 1137 h 1473"/>
                <a:gd name="T32" fmla="*/ 362 w 532"/>
                <a:gd name="T33" fmla="*/ 1137 h 1473"/>
                <a:gd name="T34" fmla="*/ 362 w 532"/>
                <a:gd name="T35" fmla="*/ 1029 h 1473"/>
                <a:gd name="T36" fmla="*/ 362 w 532"/>
                <a:gd name="T37" fmla="*/ 681 h 1473"/>
                <a:gd name="T38" fmla="*/ 457 w 532"/>
                <a:gd name="T39" fmla="*/ 681 h 1473"/>
                <a:gd name="T40" fmla="*/ 457 w 532"/>
                <a:gd name="T41" fmla="*/ 792 h 1473"/>
                <a:gd name="T42" fmla="*/ 362 w 532"/>
                <a:gd name="T43" fmla="*/ 792 h 1473"/>
                <a:gd name="T44" fmla="*/ 362 w 532"/>
                <a:gd name="T45" fmla="*/ 681 h 1473"/>
                <a:gd name="T46" fmla="*/ 362 w 532"/>
                <a:gd name="T47" fmla="*/ 509 h 1473"/>
                <a:gd name="T48" fmla="*/ 457 w 532"/>
                <a:gd name="T49" fmla="*/ 509 h 1473"/>
                <a:gd name="T50" fmla="*/ 457 w 532"/>
                <a:gd name="T51" fmla="*/ 619 h 1473"/>
                <a:gd name="T52" fmla="*/ 362 w 532"/>
                <a:gd name="T53" fmla="*/ 619 h 1473"/>
                <a:gd name="T54" fmla="*/ 362 w 532"/>
                <a:gd name="T55" fmla="*/ 509 h 1473"/>
                <a:gd name="T56" fmla="*/ 218 w 532"/>
                <a:gd name="T57" fmla="*/ 854 h 1473"/>
                <a:gd name="T58" fmla="*/ 314 w 532"/>
                <a:gd name="T59" fmla="*/ 854 h 1473"/>
                <a:gd name="T60" fmla="*/ 314 w 532"/>
                <a:gd name="T61" fmla="*/ 964 h 1473"/>
                <a:gd name="T62" fmla="*/ 218 w 532"/>
                <a:gd name="T63" fmla="*/ 964 h 1473"/>
                <a:gd name="T64" fmla="*/ 218 w 532"/>
                <a:gd name="T65" fmla="*/ 854 h 1473"/>
                <a:gd name="T66" fmla="*/ 218 w 532"/>
                <a:gd name="T67" fmla="*/ 681 h 1473"/>
                <a:gd name="T68" fmla="*/ 314 w 532"/>
                <a:gd name="T69" fmla="*/ 681 h 1473"/>
                <a:gd name="T70" fmla="*/ 314 w 532"/>
                <a:gd name="T71" fmla="*/ 792 h 1473"/>
                <a:gd name="T72" fmla="*/ 218 w 532"/>
                <a:gd name="T73" fmla="*/ 792 h 1473"/>
                <a:gd name="T74" fmla="*/ 218 w 532"/>
                <a:gd name="T75" fmla="*/ 681 h 1473"/>
                <a:gd name="T76" fmla="*/ 218 w 532"/>
                <a:gd name="T77" fmla="*/ 509 h 1473"/>
                <a:gd name="T78" fmla="*/ 314 w 532"/>
                <a:gd name="T79" fmla="*/ 509 h 1473"/>
                <a:gd name="T80" fmla="*/ 314 w 532"/>
                <a:gd name="T81" fmla="*/ 619 h 1473"/>
                <a:gd name="T82" fmla="*/ 218 w 532"/>
                <a:gd name="T83" fmla="*/ 619 h 1473"/>
                <a:gd name="T84" fmla="*/ 218 w 532"/>
                <a:gd name="T85" fmla="*/ 509 h 1473"/>
                <a:gd name="T86" fmla="*/ 74 w 532"/>
                <a:gd name="T87" fmla="*/ 1029 h 1473"/>
                <a:gd name="T88" fmla="*/ 170 w 532"/>
                <a:gd name="T89" fmla="*/ 1029 h 1473"/>
                <a:gd name="T90" fmla="*/ 170 w 532"/>
                <a:gd name="T91" fmla="*/ 1137 h 1473"/>
                <a:gd name="T92" fmla="*/ 74 w 532"/>
                <a:gd name="T93" fmla="*/ 1137 h 1473"/>
                <a:gd name="T94" fmla="*/ 74 w 532"/>
                <a:gd name="T95" fmla="*/ 1029 h 1473"/>
                <a:gd name="T96" fmla="*/ 74 w 532"/>
                <a:gd name="T97" fmla="*/ 854 h 1473"/>
                <a:gd name="T98" fmla="*/ 170 w 532"/>
                <a:gd name="T99" fmla="*/ 854 h 1473"/>
                <a:gd name="T100" fmla="*/ 170 w 532"/>
                <a:gd name="T101" fmla="*/ 964 h 1473"/>
                <a:gd name="T102" fmla="*/ 74 w 532"/>
                <a:gd name="T103" fmla="*/ 964 h 1473"/>
                <a:gd name="T104" fmla="*/ 74 w 532"/>
                <a:gd name="T105" fmla="*/ 854 h 1473"/>
                <a:gd name="T106" fmla="*/ 74 w 532"/>
                <a:gd name="T107" fmla="*/ 681 h 1473"/>
                <a:gd name="T108" fmla="*/ 170 w 532"/>
                <a:gd name="T109" fmla="*/ 681 h 1473"/>
                <a:gd name="T110" fmla="*/ 170 w 532"/>
                <a:gd name="T111" fmla="*/ 792 h 1473"/>
                <a:gd name="T112" fmla="*/ 74 w 532"/>
                <a:gd name="T113" fmla="*/ 792 h 1473"/>
                <a:gd name="T114" fmla="*/ 74 w 532"/>
                <a:gd name="T115" fmla="*/ 681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2" h="1473">
                  <a:moveTo>
                    <a:pt x="0" y="384"/>
                  </a:moveTo>
                  <a:lnTo>
                    <a:pt x="0" y="1473"/>
                  </a:lnTo>
                  <a:lnTo>
                    <a:pt x="532" y="1473"/>
                  </a:lnTo>
                  <a:lnTo>
                    <a:pt x="532" y="384"/>
                  </a:lnTo>
                  <a:lnTo>
                    <a:pt x="465" y="384"/>
                  </a:lnTo>
                  <a:lnTo>
                    <a:pt x="465" y="283"/>
                  </a:lnTo>
                  <a:lnTo>
                    <a:pt x="388" y="283"/>
                  </a:lnTo>
                  <a:lnTo>
                    <a:pt x="388" y="0"/>
                  </a:lnTo>
                  <a:lnTo>
                    <a:pt x="143" y="0"/>
                  </a:lnTo>
                  <a:lnTo>
                    <a:pt x="143" y="283"/>
                  </a:lnTo>
                  <a:lnTo>
                    <a:pt x="67" y="283"/>
                  </a:lnTo>
                  <a:lnTo>
                    <a:pt x="67" y="384"/>
                  </a:lnTo>
                  <a:lnTo>
                    <a:pt x="0" y="384"/>
                  </a:lnTo>
                  <a:close/>
                  <a:moveTo>
                    <a:pt x="362" y="1029"/>
                  </a:moveTo>
                  <a:lnTo>
                    <a:pt x="457" y="1029"/>
                  </a:lnTo>
                  <a:lnTo>
                    <a:pt x="457" y="1137"/>
                  </a:lnTo>
                  <a:lnTo>
                    <a:pt x="362" y="1137"/>
                  </a:lnTo>
                  <a:lnTo>
                    <a:pt x="362" y="1029"/>
                  </a:lnTo>
                  <a:close/>
                  <a:moveTo>
                    <a:pt x="362" y="681"/>
                  </a:moveTo>
                  <a:lnTo>
                    <a:pt x="457" y="681"/>
                  </a:lnTo>
                  <a:lnTo>
                    <a:pt x="457" y="792"/>
                  </a:lnTo>
                  <a:lnTo>
                    <a:pt x="362" y="792"/>
                  </a:lnTo>
                  <a:lnTo>
                    <a:pt x="362" y="681"/>
                  </a:lnTo>
                  <a:close/>
                  <a:moveTo>
                    <a:pt x="362" y="509"/>
                  </a:moveTo>
                  <a:lnTo>
                    <a:pt x="457" y="509"/>
                  </a:lnTo>
                  <a:lnTo>
                    <a:pt x="457" y="619"/>
                  </a:lnTo>
                  <a:lnTo>
                    <a:pt x="362" y="619"/>
                  </a:lnTo>
                  <a:lnTo>
                    <a:pt x="362" y="509"/>
                  </a:lnTo>
                  <a:close/>
                  <a:moveTo>
                    <a:pt x="218" y="854"/>
                  </a:moveTo>
                  <a:lnTo>
                    <a:pt x="314" y="854"/>
                  </a:lnTo>
                  <a:lnTo>
                    <a:pt x="314" y="964"/>
                  </a:lnTo>
                  <a:lnTo>
                    <a:pt x="218" y="964"/>
                  </a:lnTo>
                  <a:lnTo>
                    <a:pt x="218" y="854"/>
                  </a:lnTo>
                  <a:close/>
                  <a:moveTo>
                    <a:pt x="218" y="681"/>
                  </a:moveTo>
                  <a:lnTo>
                    <a:pt x="314" y="681"/>
                  </a:lnTo>
                  <a:lnTo>
                    <a:pt x="314" y="792"/>
                  </a:lnTo>
                  <a:lnTo>
                    <a:pt x="218" y="792"/>
                  </a:lnTo>
                  <a:lnTo>
                    <a:pt x="218" y="681"/>
                  </a:lnTo>
                  <a:close/>
                  <a:moveTo>
                    <a:pt x="218" y="509"/>
                  </a:moveTo>
                  <a:lnTo>
                    <a:pt x="314" y="509"/>
                  </a:lnTo>
                  <a:lnTo>
                    <a:pt x="314" y="619"/>
                  </a:lnTo>
                  <a:lnTo>
                    <a:pt x="218" y="619"/>
                  </a:lnTo>
                  <a:lnTo>
                    <a:pt x="218" y="509"/>
                  </a:lnTo>
                  <a:close/>
                  <a:moveTo>
                    <a:pt x="74" y="1029"/>
                  </a:moveTo>
                  <a:lnTo>
                    <a:pt x="170" y="1029"/>
                  </a:lnTo>
                  <a:lnTo>
                    <a:pt x="170" y="1137"/>
                  </a:lnTo>
                  <a:lnTo>
                    <a:pt x="74" y="1137"/>
                  </a:lnTo>
                  <a:lnTo>
                    <a:pt x="74" y="1029"/>
                  </a:lnTo>
                  <a:close/>
                  <a:moveTo>
                    <a:pt x="74" y="854"/>
                  </a:moveTo>
                  <a:lnTo>
                    <a:pt x="170" y="854"/>
                  </a:lnTo>
                  <a:lnTo>
                    <a:pt x="170" y="964"/>
                  </a:lnTo>
                  <a:lnTo>
                    <a:pt x="74" y="964"/>
                  </a:lnTo>
                  <a:lnTo>
                    <a:pt x="74" y="854"/>
                  </a:lnTo>
                  <a:close/>
                  <a:moveTo>
                    <a:pt x="74" y="681"/>
                  </a:moveTo>
                  <a:lnTo>
                    <a:pt x="170" y="681"/>
                  </a:lnTo>
                  <a:lnTo>
                    <a:pt x="170" y="792"/>
                  </a:lnTo>
                  <a:lnTo>
                    <a:pt x="74" y="792"/>
                  </a:lnTo>
                  <a:lnTo>
                    <a:pt x="74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2" name="iṧlïḋe"/>
            <p:cNvSpPr/>
            <p:nvPr/>
          </p:nvSpPr>
          <p:spPr bwMode="auto">
            <a:xfrm>
              <a:off x="4940301" y="3128963"/>
              <a:ext cx="846138" cy="2994025"/>
            </a:xfrm>
            <a:custGeom>
              <a:avLst/>
              <a:gdLst>
                <a:gd name="T0" fmla="*/ 0 w 533"/>
                <a:gd name="T1" fmla="*/ 1886 h 1886"/>
                <a:gd name="T2" fmla="*/ 533 w 533"/>
                <a:gd name="T3" fmla="*/ 92 h 1886"/>
                <a:gd name="T4" fmla="*/ 487 w 533"/>
                <a:gd name="T5" fmla="*/ 0 h 1886"/>
                <a:gd name="T6" fmla="*/ 202 w 533"/>
                <a:gd name="T7" fmla="*/ 92 h 1886"/>
                <a:gd name="T8" fmla="*/ 310 w 533"/>
                <a:gd name="T9" fmla="*/ 1466 h 1886"/>
                <a:gd name="T10" fmla="*/ 456 w 533"/>
                <a:gd name="T11" fmla="*/ 1517 h 1886"/>
                <a:gd name="T12" fmla="*/ 310 w 533"/>
                <a:gd name="T13" fmla="*/ 1466 h 1886"/>
                <a:gd name="T14" fmla="*/ 456 w 533"/>
                <a:gd name="T15" fmla="*/ 1346 h 1886"/>
                <a:gd name="T16" fmla="*/ 310 w 533"/>
                <a:gd name="T17" fmla="*/ 1397 h 1886"/>
                <a:gd name="T18" fmla="*/ 310 w 533"/>
                <a:gd name="T19" fmla="*/ 1226 h 1886"/>
                <a:gd name="T20" fmla="*/ 456 w 533"/>
                <a:gd name="T21" fmla="*/ 1277 h 1886"/>
                <a:gd name="T22" fmla="*/ 310 w 533"/>
                <a:gd name="T23" fmla="*/ 1226 h 1886"/>
                <a:gd name="T24" fmla="*/ 456 w 533"/>
                <a:gd name="T25" fmla="*/ 1106 h 1886"/>
                <a:gd name="T26" fmla="*/ 310 w 533"/>
                <a:gd name="T27" fmla="*/ 1157 h 1886"/>
                <a:gd name="T28" fmla="*/ 310 w 533"/>
                <a:gd name="T29" fmla="*/ 866 h 1886"/>
                <a:gd name="T30" fmla="*/ 456 w 533"/>
                <a:gd name="T31" fmla="*/ 917 h 1886"/>
                <a:gd name="T32" fmla="*/ 310 w 533"/>
                <a:gd name="T33" fmla="*/ 866 h 1886"/>
                <a:gd name="T34" fmla="*/ 456 w 533"/>
                <a:gd name="T35" fmla="*/ 747 h 1886"/>
                <a:gd name="T36" fmla="*/ 310 w 533"/>
                <a:gd name="T37" fmla="*/ 797 h 1886"/>
                <a:gd name="T38" fmla="*/ 310 w 533"/>
                <a:gd name="T39" fmla="*/ 627 h 1886"/>
                <a:gd name="T40" fmla="*/ 456 w 533"/>
                <a:gd name="T41" fmla="*/ 677 h 1886"/>
                <a:gd name="T42" fmla="*/ 310 w 533"/>
                <a:gd name="T43" fmla="*/ 627 h 1886"/>
                <a:gd name="T44" fmla="*/ 456 w 533"/>
                <a:gd name="T45" fmla="*/ 507 h 1886"/>
                <a:gd name="T46" fmla="*/ 310 w 533"/>
                <a:gd name="T47" fmla="*/ 557 h 1886"/>
                <a:gd name="T48" fmla="*/ 310 w 533"/>
                <a:gd name="T49" fmla="*/ 267 h 1886"/>
                <a:gd name="T50" fmla="*/ 456 w 533"/>
                <a:gd name="T51" fmla="*/ 317 h 1886"/>
                <a:gd name="T52" fmla="*/ 310 w 533"/>
                <a:gd name="T53" fmla="*/ 267 h 1886"/>
                <a:gd name="T54" fmla="*/ 223 w 533"/>
                <a:gd name="T55" fmla="*/ 1586 h 1886"/>
                <a:gd name="T56" fmla="*/ 77 w 533"/>
                <a:gd name="T57" fmla="*/ 1637 h 1886"/>
                <a:gd name="T58" fmla="*/ 77 w 533"/>
                <a:gd name="T59" fmla="*/ 1466 h 1886"/>
                <a:gd name="T60" fmla="*/ 223 w 533"/>
                <a:gd name="T61" fmla="*/ 1517 h 1886"/>
                <a:gd name="T62" fmla="*/ 77 w 533"/>
                <a:gd name="T63" fmla="*/ 1466 h 1886"/>
                <a:gd name="T64" fmla="*/ 223 w 533"/>
                <a:gd name="T65" fmla="*/ 1226 h 1886"/>
                <a:gd name="T66" fmla="*/ 77 w 533"/>
                <a:gd name="T67" fmla="*/ 1277 h 1886"/>
                <a:gd name="T68" fmla="*/ 77 w 533"/>
                <a:gd name="T69" fmla="*/ 986 h 1886"/>
                <a:gd name="T70" fmla="*/ 223 w 533"/>
                <a:gd name="T71" fmla="*/ 1037 h 1886"/>
                <a:gd name="T72" fmla="*/ 77 w 533"/>
                <a:gd name="T73" fmla="*/ 986 h 1886"/>
                <a:gd name="T74" fmla="*/ 223 w 533"/>
                <a:gd name="T75" fmla="*/ 866 h 1886"/>
                <a:gd name="T76" fmla="*/ 77 w 533"/>
                <a:gd name="T77" fmla="*/ 917 h 1886"/>
                <a:gd name="T78" fmla="*/ 77 w 533"/>
                <a:gd name="T79" fmla="*/ 627 h 1886"/>
                <a:gd name="T80" fmla="*/ 223 w 533"/>
                <a:gd name="T81" fmla="*/ 677 h 1886"/>
                <a:gd name="T82" fmla="*/ 77 w 533"/>
                <a:gd name="T83" fmla="*/ 627 h 1886"/>
                <a:gd name="T84" fmla="*/ 223 w 533"/>
                <a:gd name="T85" fmla="*/ 387 h 1886"/>
                <a:gd name="T86" fmla="*/ 77 w 533"/>
                <a:gd name="T87" fmla="*/ 437 h 1886"/>
                <a:gd name="T88" fmla="*/ 77 w 533"/>
                <a:gd name="T89" fmla="*/ 267 h 1886"/>
                <a:gd name="T90" fmla="*/ 223 w 533"/>
                <a:gd name="T91" fmla="*/ 317 h 1886"/>
                <a:gd name="T92" fmla="*/ 77 w 533"/>
                <a:gd name="T93" fmla="*/ 267 h 1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3" h="1886">
                  <a:moveTo>
                    <a:pt x="0" y="92"/>
                  </a:moveTo>
                  <a:lnTo>
                    <a:pt x="0" y="1886"/>
                  </a:lnTo>
                  <a:lnTo>
                    <a:pt x="533" y="1886"/>
                  </a:lnTo>
                  <a:lnTo>
                    <a:pt x="533" y="92"/>
                  </a:lnTo>
                  <a:lnTo>
                    <a:pt x="487" y="92"/>
                  </a:lnTo>
                  <a:lnTo>
                    <a:pt x="487" y="0"/>
                  </a:lnTo>
                  <a:lnTo>
                    <a:pt x="202" y="0"/>
                  </a:lnTo>
                  <a:lnTo>
                    <a:pt x="202" y="92"/>
                  </a:lnTo>
                  <a:lnTo>
                    <a:pt x="0" y="92"/>
                  </a:lnTo>
                  <a:close/>
                  <a:moveTo>
                    <a:pt x="310" y="1466"/>
                  </a:moveTo>
                  <a:lnTo>
                    <a:pt x="456" y="1466"/>
                  </a:lnTo>
                  <a:lnTo>
                    <a:pt x="456" y="1517"/>
                  </a:lnTo>
                  <a:lnTo>
                    <a:pt x="310" y="1517"/>
                  </a:lnTo>
                  <a:lnTo>
                    <a:pt x="310" y="1466"/>
                  </a:lnTo>
                  <a:close/>
                  <a:moveTo>
                    <a:pt x="310" y="1346"/>
                  </a:moveTo>
                  <a:lnTo>
                    <a:pt x="456" y="1346"/>
                  </a:lnTo>
                  <a:lnTo>
                    <a:pt x="456" y="1397"/>
                  </a:lnTo>
                  <a:lnTo>
                    <a:pt x="310" y="1397"/>
                  </a:lnTo>
                  <a:lnTo>
                    <a:pt x="310" y="1346"/>
                  </a:lnTo>
                  <a:close/>
                  <a:moveTo>
                    <a:pt x="310" y="1226"/>
                  </a:moveTo>
                  <a:lnTo>
                    <a:pt x="456" y="1226"/>
                  </a:lnTo>
                  <a:lnTo>
                    <a:pt x="456" y="1277"/>
                  </a:lnTo>
                  <a:lnTo>
                    <a:pt x="310" y="1277"/>
                  </a:lnTo>
                  <a:lnTo>
                    <a:pt x="310" y="1226"/>
                  </a:lnTo>
                  <a:close/>
                  <a:moveTo>
                    <a:pt x="310" y="1106"/>
                  </a:moveTo>
                  <a:lnTo>
                    <a:pt x="456" y="1106"/>
                  </a:lnTo>
                  <a:lnTo>
                    <a:pt x="456" y="1157"/>
                  </a:lnTo>
                  <a:lnTo>
                    <a:pt x="310" y="1157"/>
                  </a:lnTo>
                  <a:lnTo>
                    <a:pt x="310" y="1106"/>
                  </a:lnTo>
                  <a:close/>
                  <a:moveTo>
                    <a:pt x="310" y="866"/>
                  </a:moveTo>
                  <a:lnTo>
                    <a:pt x="456" y="866"/>
                  </a:lnTo>
                  <a:lnTo>
                    <a:pt x="456" y="917"/>
                  </a:lnTo>
                  <a:lnTo>
                    <a:pt x="310" y="917"/>
                  </a:lnTo>
                  <a:lnTo>
                    <a:pt x="310" y="866"/>
                  </a:lnTo>
                  <a:close/>
                  <a:moveTo>
                    <a:pt x="310" y="747"/>
                  </a:moveTo>
                  <a:lnTo>
                    <a:pt x="456" y="747"/>
                  </a:lnTo>
                  <a:lnTo>
                    <a:pt x="456" y="797"/>
                  </a:lnTo>
                  <a:lnTo>
                    <a:pt x="310" y="797"/>
                  </a:lnTo>
                  <a:lnTo>
                    <a:pt x="310" y="747"/>
                  </a:lnTo>
                  <a:close/>
                  <a:moveTo>
                    <a:pt x="310" y="627"/>
                  </a:moveTo>
                  <a:lnTo>
                    <a:pt x="456" y="627"/>
                  </a:lnTo>
                  <a:lnTo>
                    <a:pt x="456" y="677"/>
                  </a:lnTo>
                  <a:lnTo>
                    <a:pt x="310" y="677"/>
                  </a:lnTo>
                  <a:lnTo>
                    <a:pt x="310" y="627"/>
                  </a:lnTo>
                  <a:close/>
                  <a:moveTo>
                    <a:pt x="310" y="507"/>
                  </a:moveTo>
                  <a:lnTo>
                    <a:pt x="456" y="507"/>
                  </a:lnTo>
                  <a:lnTo>
                    <a:pt x="456" y="557"/>
                  </a:lnTo>
                  <a:lnTo>
                    <a:pt x="310" y="557"/>
                  </a:lnTo>
                  <a:lnTo>
                    <a:pt x="310" y="507"/>
                  </a:lnTo>
                  <a:close/>
                  <a:moveTo>
                    <a:pt x="310" y="267"/>
                  </a:moveTo>
                  <a:lnTo>
                    <a:pt x="456" y="267"/>
                  </a:lnTo>
                  <a:lnTo>
                    <a:pt x="456" y="317"/>
                  </a:lnTo>
                  <a:lnTo>
                    <a:pt x="310" y="317"/>
                  </a:lnTo>
                  <a:lnTo>
                    <a:pt x="310" y="267"/>
                  </a:lnTo>
                  <a:close/>
                  <a:moveTo>
                    <a:pt x="77" y="1586"/>
                  </a:moveTo>
                  <a:lnTo>
                    <a:pt x="223" y="1586"/>
                  </a:lnTo>
                  <a:lnTo>
                    <a:pt x="223" y="1637"/>
                  </a:lnTo>
                  <a:lnTo>
                    <a:pt x="77" y="1637"/>
                  </a:lnTo>
                  <a:lnTo>
                    <a:pt x="77" y="1586"/>
                  </a:lnTo>
                  <a:close/>
                  <a:moveTo>
                    <a:pt x="77" y="1466"/>
                  </a:moveTo>
                  <a:lnTo>
                    <a:pt x="223" y="1466"/>
                  </a:lnTo>
                  <a:lnTo>
                    <a:pt x="223" y="1517"/>
                  </a:lnTo>
                  <a:lnTo>
                    <a:pt x="77" y="1517"/>
                  </a:lnTo>
                  <a:lnTo>
                    <a:pt x="77" y="1466"/>
                  </a:lnTo>
                  <a:close/>
                  <a:moveTo>
                    <a:pt x="77" y="1226"/>
                  </a:moveTo>
                  <a:lnTo>
                    <a:pt x="223" y="1226"/>
                  </a:lnTo>
                  <a:lnTo>
                    <a:pt x="223" y="1277"/>
                  </a:lnTo>
                  <a:lnTo>
                    <a:pt x="77" y="1277"/>
                  </a:lnTo>
                  <a:lnTo>
                    <a:pt x="77" y="1226"/>
                  </a:lnTo>
                  <a:close/>
                  <a:moveTo>
                    <a:pt x="77" y="986"/>
                  </a:moveTo>
                  <a:lnTo>
                    <a:pt x="223" y="986"/>
                  </a:lnTo>
                  <a:lnTo>
                    <a:pt x="223" y="1037"/>
                  </a:lnTo>
                  <a:lnTo>
                    <a:pt x="77" y="1037"/>
                  </a:lnTo>
                  <a:lnTo>
                    <a:pt x="77" y="986"/>
                  </a:lnTo>
                  <a:close/>
                  <a:moveTo>
                    <a:pt x="77" y="866"/>
                  </a:moveTo>
                  <a:lnTo>
                    <a:pt x="223" y="866"/>
                  </a:lnTo>
                  <a:lnTo>
                    <a:pt x="223" y="917"/>
                  </a:lnTo>
                  <a:lnTo>
                    <a:pt x="77" y="917"/>
                  </a:lnTo>
                  <a:lnTo>
                    <a:pt x="77" y="866"/>
                  </a:lnTo>
                  <a:close/>
                  <a:moveTo>
                    <a:pt x="77" y="627"/>
                  </a:moveTo>
                  <a:lnTo>
                    <a:pt x="223" y="627"/>
                  </a:lnTo>
                  <a:lnTo>
                    <a:pt x="223" y="677"/>
                  </a:lnTo>
                  <a:lnTo>
                    <a:pt x="77" y="677"/>
                  </a:lnTo>
                  <a:lnTo>
                    <a:pt x="77" y="627"/>
                  </a:lnTo>
                  <a:close/>
                  <a:moveTo>
                    <a:pt x="77" y="387"/>
                  </a:moveTo>
                  <a:lnTo>
                    <a:pt x="223" y="387"/>
                  </a:lnTo>
                  <a:lnTo>
                    <a:pt x="223" y="437"/>
                  </a:lnTo>
                  <a:lnTo>
                    <a:pt x="77" y="437"/>
                  </a:lnTo>
                  <a:lnTo>
                    <a:pt x="77" y="387"/>
                  </a:lnTo>
                  <a:close/>
                  <a:moveTo>
                    <a:pt x="77" y="267"/>
                  </a:moveTo>
                  <a:lnTo>
                    <a:pt x="223" y="267"/>
                  </a:lnTo>
                  <a:lnTo>
                    <a:pt x="223" y="317"/>
                  </a:lnTo>
                  <a:lnTo>
                    <a:pt x="77" y="317"/>
                  </a:lnTo>
                  <a:lnTo>
                    <a:pt x="7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3" name="íS1ïďe"/>
            <p:cNvSpPr/>
            <p:nvPr/>
          </p:nvSpPr>
          <p:spPr bwMode="auto">
            <a:xfrm>
              <a:off x="3973513" y="3460750"/>
              <a:ext cx="846138" cy="2662238"/>
            </a:xfrm>
            <a:custGeom>
              <a:avLst/>
              <a:gdLst>
                <a:gd name="T0" fmla="*/ 0 w 533"/>
                <a:gd name="T1" fmla="*/ 1677 h 1677"/>
                <a:gd name="T2" fmla="*/ 533 w 533"/>
                <a:gd name="T3" fmla="*/ 204 h 1677"/>
                <a:gd name="T4" fmla="*/ 437 w 533"/>
                <a:gd name="T5" fmla="*/ 0 h 1677"/>
                <a:gd name="T6" fmla="*/ 329 w 533"/>
                <a:gd name="T7" fmla="*/ 204 h 1677"/>
                <a:gd name="T8" fmla="*/ 401 w 533"/>
                <a:gd name="T9" fmla="*/ 1252 h 1677"/>
                <a:gd name="T10" fmla="*/ 473 w 533"/>
                <a:gd name="T11" fmla="*/ 1324 h 1677"/>
                <a:gd name="T12" fmla="*/ 401 w 533"/>
                <a:gd name="T13" fmla="*/ 1252 h 1677"/>
                <a:gd name="T14" fmla="*/ 473 w 533"/>
                <a:gd name="T15" fmla="*/ 1104 h 1677"/>
                <a:gd name="T16" fmla="*/ 401 w 533"/>
                <a:gd name="T17" fmla="*/ 1176 h 1677"/>
                <a:gd name="T18" fmla="*/ 401 w 533"/>
                <a:gd name="T19" fmla="*/ 957 h 1677"/>
                <a:gd name="T20" fmla="*/ 473 w 533"/>
                <a:gd name="T21" fmla="*/ 1029 h 1677"/>
                <a:gd name="T22" fmla="*/ 401 w 533"/>
                <a:gd name="T23" fmla="*/ 957 h 1677"/>
                <a:gd name="T24" fmla="*/ 473 w 533"/>
                <a:gd name="T25" fmla="*/ 811 h 1677"/>
                <a:gd name="T26" fmla="*/ 401 w 533"/>
                <a:gd name="T27" fmla="*/ 883 h 1677"/>
                <a:gd name="T28" fmla="*/ 401 w 533"/>
                <a:gd name="T29" fmla="*/ 662 h 1677"/>
                <a:gd name="T30" fmla="*/ 473 w 533"/>
                <a:gd name="T31" fmla="*/ 734 h 1677"/>
                <a:gd name="T32" fmla="*/ 401 w 533"/>
                <a:gd name="T33" fmla="*/ 662 h 1677"/>
                <a:gd name="T34" fmla="*/ 473 w 533"/>
                <a:gd name="T35" fmla="*/ 516 h 1677"/>
                <a:gd name="T36" fmla="*/ 401 w 533"/>
                <a:gd name="T37" fmla="*/ 588 h 1677"/>
                <a:gd name="T38" fmla="*/ 288 w 533"/>
                <a:gd name="T39" fmla="*/ 1104 h 1677"/>
                <a:gd name="T40" fmla="*/ 360 w 533"/>
                <a:gd name="T41" fmla="*/ 1176 h 1677"/>
                <a:gd name="T42" fmla="*/ 288 w 533"/>
                <a:gd name="T43" fmla="*/ 1104 h 1677"/>
                <a:gd name="T44" fmla="*/ 360 w 533"/>
                <a:gd name="T45" fmla="*/ 957 h 1677"/>
                <a:gd name="T46" fmla="*/ 288 w 533"/>
                <a:gd name="T47" fmla="*/ 1029 h 1677"/>
                <a:gd name="T48" fmla="*/ 288 w 533"/>
                <a:gd name="T49" fmla="*/ 662 h 1677"/>
                <a:gd name="T50" fmla="*/ 360 w 533"/>
                <a:gd name="T51" fmla="*/ 734 h 1677"/>
                <a:gd name="T52" fmla="*/ 288 w 533"/>
                <a:gd name="T53" fmla="*/ 662 h 1677"/>
                <a:gd name="T54" fmla="*/ 360 w 533"/>
                <a:gd name="T55" fmla="*/ 516 h 1677"/>
                <a:gd name="T56" fmla="*/ 288 w 533"/>
                <a:gd name="T57" fmla="*/ 588 h 1677"/>
                <a:gd name="T58" fmla="*/ 288 w 533"/>
                <a:gd name="T59" fmla="*/ 370 h 1677"/>
                <a:gd name="T60" fmla="*/ 360 w 533"/>
                <a:gd name="T61" fmla="*/ 442 h 1677"/>
                <a:gd name="T62" fmla="*/ 288 w 533"/>
                <a:gd name="T63" fmla="*/ 370 h 1677"/>
                <a:gd name="T64" fmla="*/ 245 w 533"/>
                <a:gd name="T65" fmla="*/ 1252 h 1677"/>
                <a:gd name="T66" fmla="*/ 173 w 533"/>
                <a:gd name="T67" fmla="*/ 1324 h 1677"/>
                <a:gd name="T68" fmla="*/ 173 w 533"/>
                <a:gd name="T69" fmla="*/ 1104 h 1677"/>
                <a:gd name="T70" fmla="*/ 245 w 533"/>
                <a:gd name="T71" fmla="*/ 1176 h 1677"/>
                <a:gd name="T72" fmla="*/ 173 w 533"/>
                <a:gd name="T73" fmla="*/ 1104 h 1677"/>
                <a:gd name="T74" fmla="*/ 245 w 533"/>
                <a:gd name="T75" fmla="*/ 811 h 1677"/>
                <a:gd name="T76" fmla="*/ 173 w 533"/>
                <a:gd name="T77" fmla="*/ 883 h 1677"/>
                <a:gd name="T78" fmla="*/ 173 w 533"/>
                <a:gd name="T79" fmla="*/ 662 h 1677"/>
                <a:gd name="T80" fmla="*/ 245 w 533"/>
                <a:gd name="T81" fmla="*/ 734 h 1677"/>
                <a:gd name="T82" fmla="*/ 173 w 533"/>
                <a:gd name="T83" fmla="*/ 662 h 1677"/>
                <a:gd name="T84" fmla="*/ 245 w 533"/>
                <a:gd name="T85" fmla="*/ 516 h 1677"/>
                <a:gd name="T86" fmla="*/ 173 w 533"/>
                <a:gd name="T87" fmla="*/ 588 h 1677"/>
                <a:gd name="T88" fmla="*/ 173 w 533"/>
                <a:gd name="T89" fmla="*/ 370 h 1677"/>
                <a:gd name="T90" fmla="*/ 245 w 533"/>
                <a:gd name="T91" fmla="*/ 442 h 1677"/>
                <a:gd name="T92" fmla="*/ 173 w 533"/>
                <a:gd name="T93" fmla="*/ 370 h 1677"/>
                <a:gd name="T94" fmla="*/ 132 w 533"/>
                <a:gd name="T95" fmla="*/ 1252 h 1677"/>
                <a:gd name="T96" fmla="*/ 60 w 533"/>
                <a:gd name="T97" fmla="*/ 1324 h 1677"/>
                <a:gd name="T98" fmla="*/ 60 w 533"/>
                <a:gd name="T99" fmla="*/ 1104 h 1677"/>
                <a:gd name="T100" fmla="*/ 132 w 533"/>
                <a:gd name="T101" fmla="*/ 1176 h 1677"/>
                <a:gd name="T102" fmla="*/ 60 w 533"/>
                <a:gd name="T103" fmla="*/ 1104 h 1677"/>
                <a:gd name="T104" fmla="*/ 132 w 533"/>
                <a:gd name="T105" fmla="*/ 957 h 1677"/>
                <a:gd name="T106" fmla="*/ 60 w 533"/>
                <a:gd name="T107" fmla="*/ 1029 h 1677"/>
                <a:gd name="T108" fmla="*/ 60 w 533"/>
                <a:gd name="T109" fmla="*/ 811 h 1677"/>
                <a:gd name="T110" fmla="*/ 132 w 533"/>
                <a:gd name="T111" fmla="*/ 883 h 1677"/>
                <a:gd name="T112" fmla="*/ 60 w 533"/>
                <a:gd name="T113" fmla="*/ 811 h 1677"/>
                <a:gd name="T114" fmla="*/ 132 w 533"/>
                <a:gd name="T115" fmla="*/ 516 h 1677"/>
                <a:gd name="T116" fmla="*/ 60 w 533"/>
                <a:gd name="T117" fmla="*/ 588 h 1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1677">
                  <a:moveTo>
                    <a:pt x="0" y="204"/>
                  </a:moveTo>
                  <a:lnTo>
                    <a:pt x="0" y="1677"/>
                  </a:lnTo>
                  <a:lnTo>
                    <a:pt x="533" y="1677"/>
                  </a:lnTo>
                  <a:lnTo>
                    <a:pt x="533" y="204"/>
                  </a:lnTo>
                  <a:lnTo>
                    <a:pt x="437" y="204"/>
                  </a:lnTo>
                  <a:lnTo>
                    <a:pt x="437" y="0"/>
                  </a:lnTo>
                  <a:lnTo>
                    <a:pt x="329" y="0"/>
                  </a:lnTo>
                  <a:lnTo>
                    <a:pt x="329" y="204"/>
                  </a:lnTo>
                  <a:lnTo>
                    <a:pt x="0" y="204"/>
                  </a:lnTo>
                  <a:close/>
                  <a:moveTo>
                    <a:pt x="401" y="1252"/>
                  </a:moveTo>
                  <a:lnTo>
                    <a:pt x="473" y="1252"/>
                  </a:lnTo>
                  <a:lnTo>
                    <a:pt x="473" y="1324"/>
                  </a:lnTo>
                  <a:lnTo>
                    <a:pt x="401" y="1324"/>
                  </a:lnTo>
                  <a:lnTo>
                    <a:pt x="401" y="1252"/>
                  </a:lnTo>
                  <a:close/>
                  <a:moveTo>
                    <a:pt x="401" y="1104"/>
                  </a:moveTo>
                  <a:lnTo>
                    <a:pt x="473" y="1104"/>
                  </a:lnTo>
                  <a:lnTo>
                    <a:pt x="473" y="1176"/>
                  </a:lnTo>
                  <a:lnTo>
                    <a:pt x="401" y="1176"/>
                  </a:lnTo>
                  <a:lnTo>
                    <a:pt x="401" y="1104"/>
                  </a:lnTo>
                  <a:close/>
                  <a:moveTo>
                    <a:pt x="401" y="957"/>
                  </a:moveTo>
                  <a:lnTo>
                    <a:pt x="473" y="957"/>
                  </a:lnTo>
                  <a:lnTo>
                    <a:pt x="473" y="1029"/>
                  </a:lnTo>
                  <a:lnTo>
                    <a:pt x="401" y="1029"/>
                  </a:lnTo>
                  <a:lnTo>
                    <a:pt x="401" y="957"/>
                  </a:lnTo>
                  <a:close/>
                  <a:moveTo>
                    <a:pt x="401" y="811"/>
                  </a:moveTo>
                  <a:lnTo>
                    <a:pt x="473" y="811"/>
                  </a:lnTo>
                  <a:lnTo>
                    <a:pt x="473" y="883"/>
                  </a:lnTo>
                  <a:lnTo>
                    <a:pt x="401" y="883"/>
                  </a:lnTo>
                  <a:lnTo>
                    <a:pt x="401" y="811"/>
                  </a:lnTo>
                  <a:close/>
                  <a:moveTo>
                    <a:pt x="401" y="662"/>
                  </a:moveTo>
                  <a:lnTo>
                    <a:pt x="473" y="662"/>
                  </a:lnTo>
                  <a:lnTo>
                    <a:pt x="473" y="734"/>
                  </a:lnTo>
                  <a:lnTo>
                    <a:pt x="401" y="734"/>
                  </a:lnTo>
                  <a:lnTo>
                    <a:pt x="401" y="662"/>
                  </a:lnTo>
                  <a:close/>
                  <a:moveTo>
                    <a:pt x="401" y="516"/>
                  </a:moveTo>
                  <a:lnTo>
                    <a:pt x="473" y="516"/>
                  </a:lnTo>
                  <a:lnTo>
                    <a:pt x="473" y="588"/>
                  </a:lnTo>
                  <a:lnTo>
                    <a:pt x="401" y="588"/>
                  </a:lnTo>
                  <a:lnTo>
                    <a:pt x="401" y="516"/>
                  </a:lnTo>
                  <a:close/>
                  <a:moveTo>
                    <a:pt x="288" y="1104"/>
                  </a:moveTo>
                  <a:lnTo>
                    <a:pt x="360" y="1104"/>
                  </a:lnTo>
                  <a:lnTo>
                    <a:pt x="360" y="1176"/>
                  </a:lnTo>
                  <a:lnTo>
                    <a:pt x="288" y="1176"/>
                  </a:lnTo>
                  <a:lnTo>
                    <a:pt x="288" y="1104"/>
                  </a:lnTo>
                  <a:close/>
                  <a:moveTo>
                    <a:pt x="288" y="957"/>
                  </a:moveTo>
                  <a:lnTo>
                    <a:pt x="360" y="957"/>
                  </a:lnTo>
                  <a:lnTo>
                    <a:pt x="360" y="1029"/>
                  </a:lnTo>
                  <a:lnTo>
                    <a:pt x="288" y="1029"/>
                  </a:lnTo>
                  <a:lnTo>
                    <a:pt x="288" y="957"/>
                  </a:lnTo>
                  <a:close/>
                  <a:moveTo>
                    <a:pt x="288" y="662"/>
                  </a:moveTo>
                  <a:lnTo>
                    <a:pt x="360" y="662"/>
                  </a:lnTo>
                  <a:lnTo>
                    <a:pt x="360" y="734"/>
                  </a:lnTo>
                  <a:lnTo>
                    <a:pt x="288" y="734"/>
                  </a:lnTo>
                  <a:lnTo>
                    <a:pt x="288" y="662"/>
                  </a:lnTo>
                  <a:close/>
                  <a:moveTo>
                    <a:pt x="288" y="516"/>
                  </a:moveTo>
                  <a:lnTo>
                    <a:pt x="360" y="516"/>
                  </a:lnTo>
                  <a:lnTo>
                    <a:pt x="360" y="588"/>
                  </a:lnTo>
                  <a:lnTo>
                    <a:pt x="288" y="588"/>
                  </a:lnTo>
                  <a:lnTo>
                    <a:pt x="288" y="516"/>
                  </a:lnTo>
                  <a:close/>
                  <a:moveTo>
                    <a:pt x="288" y="370"/>
                  </a:moveTo>
                  <a:lnTo>
                    <a:pt x="360" y="370"/>
                  </a:lnTo>
                  <a:lnTo>
                    <a:pt x="360" y="442"/>
                  </a:lnTo>
                  <a:lnTo>
                    <a:pt x="288" y="442"/>
                  </a:lnTo>
                  <a:lnTo>
                    <a:pt x="288" y="370"/>
                  </a:lnTo>
                  <a:close/>
                  <a:moveTo>
                    <a:pt x="173" y="1252"/>
                  </a:moveTo>
                  <a:lnTo>
                    <a:pt x="245" y="1252"/>
                  </a:lnTo>
                  <a:lnTo>
                    <a:pt x="245" y="1324"/>
                  </a:lnTo>
                  <a:lnTo>
                    <a:pt x="173" y="1324"/>
                  </a:lnTo>
                  <a:lnTo>
                    <a:pt x="173" y="1252"/>
                  </a:lnTo>
                  <a:close/>
                  <a:moveTo>
                    <a:pt x="173" y="1104"/>
                  </a:moveTo>
                  <a:lnTo>
                    <a:pt x="245" y="1104"/>
                  </a:lnTo>
                  <a:lnTo>
                    <a:pt x="245" y="1176"/>
                  </a:lnTo>
                  <a:lnTo>
                    <a:pt x="173" y="1176"/>
                  </a:lnTo>
                  <a:lnTo>
                    <a:pt x="173" y="1104"/>
                  </a:lnTo>
                  <a:close/>
                  <a:moveTo>
                    <a:pt x="173" y="811"/>
                  </a:moveTo>
                  <a:lnTo>
                    <a:pt x="245" y="811"/>
                  </a:lnTo>
                  <a:lnTo>
                    <a:pt x="245" y="883"/>
                  </a:lnTo>
                  <a:lnTo>
                    <a:pt x="173" y="883"/>
                  </a:lnTo>
                  <a:lnTo>
                    <a:pt x="173" y="811"/>
                  </a:lnTo>
                  <a:close/>
                  <a:moveTo>
                    <a:pt x="173" y="662"/>
                  </a:moveTo>
                  <a:lnTo>
                    <a:pt x="245" y="662"/>
                  </a:lnTo>
                  <a:lnTo>
                    <a:pt x="245" y="734"/>
                  </a:lnTo>
                  <a:lnTo>
                    <a:pt x="173" y="734"/>
                  </a:lnTo>
                  <a:lnTo>
                    <a:pt x="173" y="662"/>
                  </a:lnTo>
                  <a:close/>
                  <a:moveTo>
                    <a:pt x="173" y="516"/>
                  </a:moveTo>
                  <a:lnTo>
                    <a:pt x="245" y="516"/>
                  </a:lnTo>
                  <a:lnTo>
                    <a:pt x="245" y="588"/>
                  </a:lnTo>
                  <a:lnTo>
                    <a:pt x="173" y="588"/>
                  </a:lnTo>
                  <a:lnTo>
                    <a:pt x="173" y="516"/>
                  </a:lnTo>
                  <a:close/>
                  <a:moveTo>
                    <a:pt x="173" y="370"/>
                  </a:moveTo>
                  <a:lnTo>
                    <a:pt x="245" y="370"/>
                  </a:lnTo>
                  <a:lnTo>
                    <a:pt x="245" y="442"/>
                  </a:lnTo>
                  <a:lnTo>
                    <a:pt x="173" y="442"/>
                  </a:lnTo>
                  <a:lnTo>
                    <a:pt x="173" y="370"/>
                  </a:lnTo>
                  <a:close/>
                  <a:moveTo>
                    <a:pt x="60" y="1252"/>
                  </a:moveTo>
                  <a:lnTo>
                    <a:pt x="132" y="1252"/>
                  </a:lnTo>
                  <a:lnTo>
                    <a:pt x="132" y="1324"/>
                  </a:lnTo>
                  <a:lnTo>
                    <a:pt x="60" y="1324"/>
                  </a:lnTo>
                  <a:lnTo>
                    <a:pt x="60" y="1252"/>
                  </a:lnTo>
                  <a:close/>
                  <a:moveTo>
                    <a:pt x="60" y="1104"/>
                  </a:moveTo>
                  <a:lnTo>
                    <a:pt x="132" y="1104"/>
                  </a:lnTo>
                  <a:lnTo>
                    <a:pt x="132" y="1176"/>
                  </a:lnTo>
                  <a:lnTo>
                    <a:pt x="60" y="1176"/>
                  </a:lnTo>
                  <a:lnTo>
                    <a:pt x="60" y="1104"/>
                  </a:lnTo>
                  <a:close/>
                  <a:moveTo>
                    <a:pt x="60" y="957"/>
                  </a:moveTo>
                  <a:lnTo>
                    <a:pt x="132" y="957"/>
                  </a:lnTo>
                  <a:lnTo>
                    <a:pt x="132" y="1029"/>
                  </a:lnTo>
                  <a:lnTo>
                    <a:pt x="60" y="1029"/>
                  </a:lnTo>
                  <a:lnTo>
                    <a:pt x="60" y="957"/>
                  </a:lnTo>
                  <a:close/>
                  <a:moveTo>
                    <a:pt x="60" y="811"/>
                  </a:moveTo>
                  <a:lnTo>
                    <a:pt x="132" y="811"/>
                  </a:lnTo>
                  <a:lnTo>
                    <a:pt x="132" y="883"/>
                  </a:lnTo>
                  <a:lnTo>
                    <a:pt x="60" y="883"/>
                  </a:lnTo>
                  <a:lnTo>
                    <a:pt x="60" y="811"/>
                  </a:lnTo>
                  <a:close/>
                  <a:moveTo>
                    <a:pt x="60" y="516"/>
                  </a:moveTo>
                  <a:lnTo>
                    <a:pt x="132" y="516"/>
                  </a:lnTo>
                  <a:lnTo>
                    <a:pt x="132" y="588"/>
                  </a:lnTo>
                  <a:lnTo>
                    <a:pt x="60" y="588"/>
                  </a:lnTo>
                  <a:lnTo>
                    <a:pt x="60" y="5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4" name="í$ḷiďe"/>
            <p:cNvSpPr/>
            <p:nvPr/>
          </p:nvSpPr>
          <p:spPr bwMode="auto">
            <a:xfrm>
              <a:off x="5907088" y="4092575"/>
              <a:ext cx="846138" cy="2030413"/>
            </a:xfrm>
            <a:custGeom>
              <a:avLst/>
              <a:gdLst>
                <a:gd name="T0" fmla="*/ 0 w 533"/>
                <a:gd name="T1" fmla="*/ 224 h 1279"/>
                <a:gd name="T2" fmla="*/ 0 w 533"/>
                <a:gd name="T3" fmla="*/ 1279 h 1279"/>
                <a:gd name="T4" fmla="*/ 533 w 533"/>
                <a:gd name="T5" fmla="*/ 1279 h 1279"/>
                <a:gd name="T6" fmla="*/ 533 w 533"/>
                <a:gd name="T7" fmla="*/ 224 h 1279"/>
                <a:gd name="T8" fmla="*/ 451 w 533"/>
                <a:gd name="T9" fmla="*/ 224 h 1279"/>
                <a:gd name="T10" fmla="*/ 451 w 533"/>
                <a:gd name="T11" fmla="*/ 116 h 1279"/>
                <a:gd name="T12" fmla="*/ 82 w 533"/>
                <a:gd name="T13" fmla="*/ 0 h 1279"/>
                <a:gd name="T14" fmla="*/ 82 w 533"/>
                <a:gd name="T15" fmla="*/ 224 h 1279"/>
                <a:gd name="T16" fmla="*/ 0 w 533"/>
                <a:gd name="T17" fmla="*/ 224 h 1279"/>
                <a:gd name="T18" fmla="*/ 324 w 533"/>
                <a:gd name="T19" fmla="*/ 792 h 1279"/>
                <a:gd name="T20" fmla="*/ 432 w 533"/>
                <a:gd name="T21" fmla="*/ 792 h 1279"/>
                <a:gd name="T22" fmla="*/ 432 w 533"/>
                <a:gd name="T23" fmla="*/ 900 h 1279"/>
                <a:gd name="T24" fmla="*/ 324 w 533"/>
                <a:gd name="T25" fmla="*/ 900 h 1279"/>
                <a:gd name="T26" fmla="*/ 324 w 533"/>
                <a:gd name="T27" fmla="*/ 792 h 1279"/>
                <a:gd name="T28" fmla="*/ 324 w 533"/>
                <a:gd name="T29" fmla="*/ 574 h 1279"/>
                <a:gd name="T30" fmla="*/ 432 w 533"/>
                <a:gd name="T31" fmla="*/ 574 h 1279"/>
                <a:gd name="T32" fmla="*/ 432 w 533"/>
                <a:gd name="T33" fmla="*/ 682 h 1279"/>
                <a:gd name="T34" fmla="*/ 324 w 533"/>
                <a:gd name="T35" fmla="*/ 682 h 1279"/>
                <a:gd name="T36" fmla="*/ 324 w 533"/>
                <a:gd name="T37" fmla="*/ 574 h 1279"/>
                <a:gd name="T38" fmla="*/ 324 w 533"/>
                <a:gd name="T39" fmla="*/ 355 h 1279"/>
                <a:gd name="T40" fmla="*/ 432 w 533"/>
                <a:gd name="T41" fmla="*/ 355 h 1279"/>
                <a:gd name="T42" fmla="*/ 432 w 533"/>
                <a:gd name="T43" fmla="*/ 463 h 1279"/>
                <a:gd name="T44" fmla="*/ 324 w 533"/>
                <a:gd name="T45" fmla="*/ 463 h 1279"/>
                <a:gd name="T46" fmla="*/ 324 w 533"/>
                <a:gd name="T47" fmla="*/ 355 h 1279"/>
                <a:gd name="T48" fmla="*/ 101 w 533"/>
                <a:gd name="T49" fmla="*/ 792 h 1279"/>
                <a:gd name="T50" fmla="*/ 209 w 533"/>
                <a:gd name="T51" fmla="*/ 792 h 1279"/>
                <a:gd name="T52" fmla="*/ 209 w 533"/>
                <a:gd name="T53" fmla="*/ 900 h 1279"/>
                <a:gd name="T54" fmla="*/ 101 w 533"/>
                <a:gd name="T55" fmla="*/ 900 h 1279"/>
                <a:gd name="T56" fmla="*/ 101 w 533"/>
                <a:gd name="T57" fmla="*/ 792 h 1279"/>
                <a:gd name="T58" fmla="*/ 101 w 533"/>
                <a:gd name="T59" fmla="*/ 574 h 1279"/>
                <a:gd name="T60" fmla="*/ 209 w 533"/>
                <a:gd name="T61" fmla="*/ 574 h 1279"/>
                <a:gd name="T62" fmla="*/ 209 w 533"/>
                <a:gd name="T63" fmla="*/ 682 h 1279"/>
                <a:gd name="T64" fmla="*/ 101 w 533"/>
                <a:gd name="T65" fmla="*/ 682 h 1279"/>
                <a:gd name="T66" fmla="*/ 101 w 533"/>
                <a:gd name="T67" fmla="*/ 574 h 1279"/>
                <a:gd name="T68" fmla="*/ 101 w 533"/>
                <a:gd name="T69" fmla="*/ 355 h 1279"/>
                <a:gd name="T70" fmla="*/ 209 w 533"/>
                <a:gd name="T71" fmla="*/ 355 h 1279"/>
                <a:gd name="T72" fmla="*/ 209 w 533"/>
                <a:gd name="T73" fmla="*/ 463 h 1279"/>
                <a:gd name="T74" fmla="*/ 101 w 533"/>
                <a:gd name="T75" fmla="*/ 463 h 1279"/>
                <a:gd name="T76" fmla="*/ 101 w 533"/>
                <a:gd name="T77" fmla="*/ 35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3" h="1279">
                  <a:moveTo>
                    <a:pt x="0" y="224"/>
                  </a:moveTo>
                  <a:lnTo>
                    <a:pt x="0" y="1279"/>
                  </a:lnTo>
                  <a:lnTo>
                    <a:pt x="533" y="1279"/>
                  </a:lnTo>
                  <a:lnTo>
                    <a:pt x="533" y="224"/>
                  </a:lnTo>
                  <a:lnTo>
                    <a:pt x="451" y="224"/>
                  </a:lnTo>
                  <a:lnTo>
                    <a:pt x="451" y="116"/>
                  </a:lnTo>
                  <a:lnTo>
                    <a:pt x="82" y="0"/>
                  </a:lnTo>
                  <a:lnTo>
                    <a:pt x="82" y="224"/>
                  </a:lnTo>
                  <a:lnTo>
                    <a:pt x="0" y="224"/>
                  </a:lnTo>
                  <a:close/>
                  <a:moveTo>
                    <a:pt x="324" y="792"/>
                  </a:moveTo>
                  <a:lnTo>
                    <a:pt x="432" y="792"/>
                  </a:lnTo>
                  <a:lnTo>
                    <a:pt x="432" y="900"/>
                  </a:lnTo>
                  <a:lnTo>
                    <a:pt x="324" y="900"/>
                  </a:lnTo>
                  <a:lnTo>
                    <a:pt x="324" y="792"/>
                  </a:lnTo>
                  <a:close/>
                  <a:moveTo>
                    <a:pt x="324" y="574"/>
                  </a:moveTo>
                  <a:lnTo>
                    <a:pt x="432" y="574"/>
                  </a:lnTo>
                  <a:lnTo>
                    <a:pt x="432" y="682"/>
                  </a:lnTo>
                  <a:lnTo>
                    <a:pt x="324" y="682"/>
                  </a:lnTo>
                  <a:lnTo>
                    <a:pt x="324" y="574"/>
                  </a:lnTo>
                  <a:close/>
                  <a:moveTo>
                    <a:pt x="324" y="355"/>
                  </a:moveTo>
                  <a:lnTo>
                    <a:pt x="432" y="355"/>
                  </a:lnTo>
                  <a:lnTo>
                    <a:pt x="432" y="463"/>
                  </a:lnTo>
                  <a:lnTo>
                    <a:pt x="324" y="463"/>
                  </a:lnTo>
                  <a:lnTo>
                    <a:pt x="324" y="355"/>
                  </a:lnTo>
                  <a:close/>
                  <a:moveTo>
                    <a:pt x="101" y="792"/>
                  </a:moveTo>
                  <a:lnTo>
                    <a:pt x="209" y="792"/>
                  </a:lnTo>
                  <a:lnTo>
                    <a:pt x="209" y="900"/>
                  </a:lnTo>
                  <a:lnTo>
                    <a:pt x="101" y="900"/>
                  </a:lnTo>
                  <a:lnTo>
                    <a:pt x="101" y="792"/>
                  </a:lnTo>
                  <a:close/>
                  <a:moveTo>
                    <a:pt x="101" y="574"/>
                  </a:moveTo>
                  <a:lnTo>
                    <a:pt x="209" y="574"/>
                  </a:lnTo>
                  <a:lnTo>
                    <a:pt x="209" y="682"/>
                  </a:lnTo>
                  <a:lnTo>
                    <a:pt x="101" y="682"/>
                  </a:lnTo>
                  <a:lnTo>
                    <a:pt x="101" y="574"/>
                  </a:lnTo>
                  <a:close/>
                  <a:moveTo>
                    <a:pt x="101" y="355"/>
                  </a:moveTo>
                  <a:lnTo>
                    <a:pt x="209" y="355"/>
                  </a:lnTo>
                  <a:lnTo>
                    <a:pt x="209" y="463"/>
                  </a:lnTo>
                  <a:lnTo>
                    <a:pt x="101" y="463"/>
                  </a:lnTo>
                  <a:lnTo>
                    <a:pt x="101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</p:grpSp>
      <p:pic>
        <p:nvPicPr>
          <p:cNvPr id="63" name="图片 6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6016" y="2681513"/>
            <a:ext cx="7854120" cy="3212635"/>
          </a:xfrm>
          <a:prstGeom prst="rect">
            <a:avLst/>
          </a:prstGeom>
        </p:spPr>
      </p:pic>
      <p:sp>
        <p:nvSpPr>
          <p:cNvPr id="41" name="îslîḋê"/>
          <p:cNvSpPr/>
          <p:nvPr userDrawn="1"/>
        </p:nvSpPr>
        <p:spPr bwMode="auto">
          <a:xfrm>
            <a:off x="4762" y="5042646"/>
            <a:ext cx="12187237" cy="1807323"/>
          </a:xfrm>
          <a:custGeom>
            <a:avLst/>
            <a:gdLst>
              <a:gd name="T0" fmla="*/ 0 w 3200"/>
              <a:gd name="T1" fmla="*/ 129 h 391"/>
              <a:gd name="T2" fmla="*/ 3200 w 3200"/>
              <a:gd name="T3" fmla="*/ 0 h 391"/>
              <a:gd name="T4" fmla="*/ 3200 w 3200"/>
              <a:gd name="T5" fmla="*/ 268 h 391"/>
              <a:gd name="T6" fmla="*/ 0 w 3200"/>
              <a:gd name="T7" fmla="*/ 264 h 391"/>
              <a:gd name="T8" fmla="*/ 0 w 3200"/>
              <a:gd name="T9" fmla="*/ 129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391">
                <a:moveTo>
                  <a:pt x="0" y="129"/>
                </a:moveTo>
                <a:cubicBezTo>
                  <a:pt x="217" y="129"/>
                  <a:pt x="2396" y="272"/>
                  <a:pt x="3200" y="0"/>
                </a:cubicBezTo>
                <a:cubicBezTo>
                  <a:pt x="3200" y="391"/>
                  <a:pt x="3200" y="268"/>
                  <a:pt x="3200" y="268"/>
                </a:cubicBezTo>
                <a:cubicBezTo>
                  <a:pt x="0" y="264"/>
                  <a:pt x="0" y="264"/>
                  <a:pt x="0" y="264"/>
                </a:cubicBezTo>
                <a:lnTo>
                  <a:pt x="0" y="1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ru-RU"/>
          </a:p>
        </p:txBody>
      </p:sp>
      <p:sp>
        <p:nvSpPr>
          <p:cNvPr id="42" name="iṥliḍè"/>
          <p:cNvSpPr/>
          <p:nvPr userDrawn="1"/>
        </p:nvSpPr>
        <p:spPr bwMode="auto">
          <a:xfrm>
            <a:off x="4762" y="4796935"/>
            <a:ext cx="12187237" cy="2066481"/>
          </a:xfrm>
          <a:custGeom>
            <a:avLst/>
            <a:gdLst>
              <a:gd name="T0" fmla="*/ 3200 w 3200"/>
              <a:gd name="T1" fmla="*/ 331 h 465"/>
              <a:gd name="T2" fmla="*/ 0 w 3200"/>
              <a:gd name="T3" fmla="*/ 0 h 465"/>
              <a:gd name="T4" fmla="*/ 0 w 3200"/>
              <a:gd name="T5" fmla="*/ 465 h 465"/>
              <a:gd name="T6" fmla="*/ 3200 w 3200"/>
              <a:gd name="T7" fmla="*/ 465 h 465"/>
              <a:gd name="T8" fmla="*/ 3200 w 3200"/>
              <a:gd name="T9" fmla="*/ 331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465">
                <a:moveTo>
                  <a:pt x="3200" y="331"/>
                </a:moveTo>
                <a:cubicBezTo>
                  <a:pt x="2983" y="331"/>
                  <a:pt x="804" y="273"/>
                  <a:pt x="0" y="0"/>
                </a:cubicBezTo>
                <a:cubicBezTo>
                  <a:pt x="0" y="392"/>
                  <a:pt x="0" y="465"/>
                  <a:pt x="0" y="465"/>
                </a:cubicBezTo>
                <a:cubicBezTo>
                  <a:pt x="3200" y="465"/>
                  <a:pt x="3200" y="465"/>
                  <a:pt x="3200" y="465"/>
                </a:cubicBezTo>
                <a:lnTo>
                  <a:pt x="3200" y="331"/>
                </a:lnTo>
                <a:close/>
              </a:path>
            </a:pathLst>
          </a:custGeom>
          <a:solidFill>
            <a:srgbClr val="1E43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719417"/>
            <a:ext cx="11089949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任意多边形 8"/>
          <p:cNvSpPr/>
          <p:nvPr userDrawn="1"/>
        </p:nvSpPr>
        <p:spPr>
          <a:xfrm flipH="1" flipV="1">
            <a:off x="-10623" y="-1"/>
            <a:ext cx="767368" cy="708193"/>
          </a:xfrm>
          <a:custGeom>
            <a:avLst/>
            <a:gdLst>
              <a:gd name="connsiteX0" fmla="*/ 2658701 w 3945155"/>
              <a:gd name="connsiteY0" fmla="*/ 38 h 3640926"/>
              <a:gd name="connsiteX1" fmla="*/ 3857730 w 3945155"/>
              <a:gd name="connsiteY1" fmla="*/ 295953 h 3640926"/>
              <a:gd name="connsiteX2" fmla="*/ 3945155 w 3945155"/>
              <a:gd name="connsiteY2" fmla="*/ 345547 h 3640926"/>
              <a:gd name="connsiteX3" fmla="*/ 3945155 w 3945155"/>
              <a:gd name="connsiteY3" fmla="*/ 3640926 h 3640926"/>
              <a:gd name="connsiteX4" fmla="*/ 197308 w 3945155"/>
              <a:gd name="connsiteY4" fmla="*/ 3640926 h 3640926"/>
              <a:gd name="connsiteX5" fmla="*/ 115817 w 3945155"/>
              <a:gd name="connsiteY5" fmla="*/ 3415355 h 3640926"/>
              <a:gd name="connsiteX6" fmla="*/ 1872266 w 3945155"/>
              <a:gd name="connsiteY6" fmla="*/ 115818 h 3640926"/>
              <a:gd name="connsiteX7" fmla="*/ 2658701 w 3945155"/>
              <a:gd name="connsiteY7" fmla="*/ 38 h 3640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45155" h="3640926">
                <a:moveTo>
                  <a:pt x="2658701" y="38"/>
                </a:moveTo>
                <a:cubicBezTo>
                  <a:pt x="3081233" y="2289"/>
                  <a:pt x="3491585" y="106610"/>
                  <a:pt x="3857730" y="295953"/>
                </a:cubicBezTo>
                <a:lnTo>
                  <a:pt x="3945155" y="345547"/>
                </a:lnTo>
                <a:lnTo>
                  <a:pt x="3945155" y="3640926"/>
                </a:lnTo>
                <a:lnTo>
                  <a:pt x="197308" y="3640926"/>
                </a:lnTo>
                <a:lnTo>
                  <a:pt x="115817" y="3415355"/>
                </a:lnTo>
                <a:cubicBezTo>
                  <a:pt x="-310295" y="2019184"/>
                  <a:pt x="476094" y="541930"/>
                  <a:pt x="1872266" y="115818"/>
                </a:cubicBezTo>
                <a:cubicBezTo>
                  <a:pt x="2134048" y="35922"/>
                  <a:pt x="2398681" y="-1347"/>
                  <a:pt x="2658701" y="38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2437" y="149862"/>
            <a:ext cx="1694330" cy="477648"/>
          </a:xfrm>
          <a:prstGeom prst="rect">
            <a:avLst/>
          </a:prstGeom>
        </p:spPr>
      </p:pic>
      <p:sp>
        <p:nvSpPr>
          <p:cNvPr id="11" name="îslîḋê"/>
          <p:cNvSpPr/>
          <p:nvPr userDrawn="1"/>
        </p:nvSpPr>
        <p:spPr bwMode="auto">
          <a:xfrm>
            <a:off x="4762" y="6347012"/>
            <a:ext cx="12187237" cy="502957"/>
          </a:xfrm>
          <a:custGeom>
            <a:avLst/>
            <a:gdLst>
              <a:gd name="T0" fmla="*/ 0 w 3200"/>
              <a:gd name="T1" fmla="*/ 129 h 391"/>
              <a:gd name="T2" fmla="*/ 3200 w 3200"/>
              <a:gd name="T3" fmla="*/ 0 h 391"/>
              <a:gd name="T4" fmla="*/ 3200 w 3200"/>
              <a:gd name="T5" fmla="*/ 268 h 391"/>
              <a:gd name="T6" fmla="*/ 0 w 3200"/>
              <a:gd name="T7" fmla="*/ 264 h 391"/>
              <a:gd name="T8" fmla="*/ 0 w 3200"/>
              <a:gd name="T9" fmla="*/ 129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391">
                <a:moveTo>
                  <a:pt x="0" y="129"/>
                </a:moveTo>
                <a:cubicBezTo>
                  <a:pt x="217" y="129"/>
                  <a:pt x="2396" y="272"/>
                  <a:pt x="3200" y="0"/>
                </a:cubicBezTo>
                <a:cubicBezTo>
                  <a:pt x="3200" y="391"/>
                  <a:pt x="3200" y="268"/>
                  <a:pt x="3200" y="268"/>
                </a:cubicBezTo>
                <a:cubicBezTo>
                  <a:pt x="0" y="264"/>
                  <a:pt x="0" y="264"/>
                  <a:pt x="0" y="264"/>
                </a:cubicBezTo>
                <a:lnTo>
                  <a:pt x="0" y="1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ru-RU"/>
          </a:p>
        </p:txBody>
      </p:sp>
      <p:sp>
        <p:nvSpPr>
          <p:cNvPr id="12" name="iṥliḍè"/>
          <p:cNvSpPr/>
          <p:nvPr userDrawn="1"/>
        </p:nvSpPr>
        <p:spPr bwMode="auto">
          <a:xfrm>
            <a:off x="4762" y="6262166"/>
            <a:ext cx="12187237" cy="601250"/>
          </a:xfrm>
          <a:custGeom>
            <a:avLst/>
            <a:gdLst>
              <a:gd name="T0" fmla="*/ 3200 w 3200"/>
              <a:gd name="T1" fmla="*/ 331 h 465"/>
              <a:gd name="T2" fmla="*/ 0 w 3200"/>
              <a:gd name="T3" fmla="*/ 0 h 465"/>
              <a:gd name="T4" fmla="*/ 0 w 3200"/>
              <a:gd name="T5" fmla="*/ 465 h 465"/>
              <a:gd name="T6" fmla="*/ 3200 w 3200"/>
              <a:gd name="T7" fmla="*/ 465 h 465"/>
              <a:gd name="T8" fmla="*/ 3200 w 3200"/>
              <a:gd name="T9" fmla="*/ 331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465">
                <a:moveTo>
                  <a:pt x="3200" y="331"/>
                </a:moveTo>
                <a:cubicBezTo>
                  <a:pt x="2983" y="331"/>
                  <a:pt x="804" y="273"/>
                  <a:pt x="0" y="0"/>
                </a:cubicBezTo>
                <a:cubicBezTo>
                  <a:pt x="0" y="392"/>
                  <a:pt x="0" y="465"/>
                  <a:pt x="0" y="465"/>
                </a:cubicBezTo>
                <a:cubicBezTo>
                  <a:pt x="3200" y="465"/>
                  <a:pt x="3200" y="465"/>
                  <a:pt x="3200" y="465"/>
                </a:cubicBezTo>
                <a:lnTo>
                  <a:pt x="3200" y="331"/>
                </a:lnTo>
                <a:close/>
              </a:path>
            </a:pathLst>
          </a:custGeom>
          <a:solidFill>
            <a:srgbClr val="1E43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isḷidé"/>
          <p:cNvGrpSpPr/>
          <p:nvPr userDrawn="1"/>
        </p:nvGrpSpPr>
        <p:grpSpPr>
          <a:xfrm flipH="1">
            <a:off x="1140660" y="4191481"/>
            <a:ext cx="2807116" cy="1456619"/>
            <a:chOff x="107951" y="2128838"/>
            <a:chExt cx="6645275" cy="399415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56" name="íŝḻïḓè"/>
            <p:cNvSpPr/>
            <p:nvPr/>
          </p:nvSpPr>
          <p:spPr bwMode="auto">
            <a:xfrm>
              <a:off x="1074738" y="3060700"/>
              <a:ext cx="844550" cy="3062288"/>
            </a:xfrm>
            <a:custGeom>
              <a:avLst/>
              <a:gdLst>
                <a:gd name="T0" fmla="*/ 0 w 532"/>
                <a:gd name="T1" fmla="*/ 355 h 1929"/>
                <a:gd name="T2" fmla="*/ 0 w 532"/>
                <a:gd name="T3" fmla="*/ 1929 h 1929"/>
                <a:gd name="T4" fmla="*/ 532 w 532"/>
                <a:gd name="T5" fmla="*/ 1929 h 1929"/>
                <a:gd name="T6" fmla="*/ 532 w 532"/>
                <a:gd name="T7" fmla="*/ 0 h 1929"/>
                <a:gd name="T8" fmla="*/ 0 w 532"/>
                <a:gd name="T9" fmla="*/ 355 h 1929"/>
                <a:gd name="T10" fmla="*/ 69 w 532"/>
                <a:gd name="T11" fmla="*/ 1502 h 1929"/>
                <a:gd name="T12" fmla="*/ 462 w 532"/>
                <a:gd name="T13" fmla="*/ 1502 h 1929"/>
                <a:gd name="T14" fmla="*/ 462 w 532"/>
                <a:gd name="T15" fmla="*/ 1543 h 1929"/>
                <a:gd name="T16" fmla="*/ 69 w 532"/>
                <a:gd name="T17" fmla="*/ 1543 h 1929"/>
                <a:gd name="T18" fmla="*/ 69 w 532"/>
                <a:gd name="T19" fmla="*/ 1502 h 1929"/>
                <a:gd name="T20" fmla="*/ 69 w 532"/>
                <a:gd name="T21" fmla="*/ 1387 h 1929"/>
                <a:gd name="T22" fmla="*/ 462 w 532"/>
                <a:gd name="T23" fmla="*/ 1387 h 1929"/>
                <a:gd name="T24" fmla="*/ 462 w 532"/>
                <a:gd name="T25" fmla="*/ 1428 h 1929"/>
                <a:gd name="T26" fmla="*/ 69 w 532"/>
                <a:gd name="T27" fmla="*/ 1428 h 1929"/>
                <a:gd name="T28" fmla="*/ 69 w 532"/>
                <a:gd name="T29" fmla="*/ 1387 h 1929"/>
                <a:gd name="T30" fmla="*/ 69 w 532"/>
                <a:gd name="T31" fmla="*/ 1272 h 1929"/>
                <a:gd name="T32" fmla="*/ 462 w 532"/>
                <a:gd name="T33" fmla="*/ 1272 h 1929"/>
                <a:gd name="T34" fmla="*/ 462 w 532"/>
                <a:gd name="T35" fmla="*/ 1315 h 1929"/>
                <a:gd name="T36" fmla="*/ 69 w 532"/>
                <a:gd name="T37" fmla="*/ 1315 h 1929"/>
                <a:gd name="T38" fmla="*/ 69 w 532"/>
                <a:gd name="T39" fmla="*/ 1272 h 1929"/>
                <a:gd name="T40" fmla="*/ 69 w 532"/>
                <a:gd name="T41" fmla="*/ 1157 h 1929"/>
                <a:gd name="T42" fmla="*/ 462 w 532"/>
                <a:gd name="T43" fmla="*/ 1157 h 1929"/>
                <a:gd name="T44" fmla="*/ 462 w 532"/>
                <a:gd name="T45" fmla="*/ 1200 h 1929"/>
                <a:gd name="T46" fmla="*/ 69 w 532"/>
                <a:gd name="T47" fmla="*/ 1200 h 1929"/>
                <a:gd name="T48" fmla="*/ 69 w 532"/>
                <a:gd name="T49" fmla="*/ 1157 h 1929"/>
                <a:gd name="T50" fmla="*/ 69 w 532"/>
                <a:gd name="T51" fmla="*/ 1044 h 1929"/>
                <a:gd name="T52" fmla="*/ 462 w 532"/>
                <a:gd name="T53" fmla="*/ 1044 h 1929"/>
                <a:gd name="T54" fmla="*/ 462 w 532"/>
                <a:gd name="T55" fmla="*/ 1085 h 1929"/>
                <a:gd name="T56" fmla="*/ 69 w 532"/>
                <a:gd name="T57" fmla="*/ 1085 h 1929"/>
                <a:gd name="T58" fmla="*/ 69 w 532"/>
                <a:gd name="T59" fmla="*/ 1044 h 1929"/>
                <a:gd name="T60" fmla="*/ 69 w 532"/>
                <a:gd name="T61" fmla="*/ 929 h 1929"/>
                <a:gd name="T62" fmla="*/ 462 w 532"/>
                <a:gd name="T63" fmla="*/ 929 h 1929"/>
                <a:gd name="T64" fmla="*/ 462 w 532"/>
                <a:gd name="T65" fmla="*/ 969 h 1929"/>
                <a:gd name="T66" fmla="*/ 69 w 532"/>
                <a:gd name="T67" fmla="*/ 969 h 1929"/>
                <a:gd name="T68" fmla="*/ 69 w 532"/>
                <a:gd name="T69" fmla="*/ 929 h 1929"/>
                <a:gd name="T70" fmla="*/ 69 w 532"/>
                <a:gd name="T71" fmla="*/ 814 h 1929"/>
                <a:gd name="T72" fmla="*/ 462 w 532"/>
                <a:gd name="T73" fmla="*/ 814 h 1929"/>
                <a:gd name="T74" fmla="*/ 462 w 532"/>
                <a:gd name="T75" fmla="*/ 854 h 1929"/>
                <a:gd name="T76" fmla="*/ 69 w 532"/>
                <a:gd name="T77" fmla="*/ 854 h 1929"/>
                <a:gd name="T78" fmla="*/ 69 w 532"/>
                <a:gd name="T79" fmla="*/ 814 h 1929"/>
                <a:gd name="T80" fmla="*/ 69 w 532"/>
                <a:gd name="T81" fmla="*/ 698 h 1929"/>
                <a:gd name="T82" fmla="*/ 462 w 532"/>
                <a:gd name="T83" fmla="*/ 698 h 1929"/>
                <a:gd name="T84" fmla="*/ 462 w 532"/>
                <a:gd name="T85" fmla="*/ 739 h 1929"/>
                <a:gd name="T86" fmla="*/ 69 w 532"/>
                <a:gd name="T87" fmla="*/ 739 h 1929"/>
                <a:gd name="T88" fmla="*/ 69 w 532"/>
                <a:gd name="T89" fmla="*/ 698 h 1929"/>
                <a:gd name="T90" fmla="*/ 69 w 532"/>
                <a:gd name="T91" fmla="*/ 583 h 1929"/>
                <a:gd name="T92" fmla="*/ 462 w 532"/>
                <a:gd name="T93" fmla="*/ 583 h 1929"/>
                <a:gd name="T94" fmla="*/ 462 w 532"/>
                <a:gd name="T95" fmla="*/ 626 h 1929"/>
                <a:gd name="T96" fmla="*/ 69 w 532"/>
                <a:gd name="T97" fmla="*/ 626 h 1929"/>
                <a:gd name="T98" fmla="*/ 69 w 532"/>
                <a:gd name="T99" fmla="*/ 583 h 1929"/>
                <a:gd name="T100" fmla="*/ 69 w 532"/>
                <a:gd name="T101" fmla="*/ 468 h 1929"/>
                <a:gd name="T102" fmla="*/ 462 w 532"/>
                <a:gd name="T103" fmla="*/ 468 h 1929"/>
                <a:gd name="T104" fmla="*/ 462 w 532"/>
                <a:gd name="T105" fmla="*/ 511 h 1929"/>
                <a:gd name="T106" fmla="*/ 69 w 532"/>
                <a:gd name="T107" fmla="*/ 511 h 1929"/>
                <a:gd name="T108" fmla="*/ 69 w 532"/>
                <a:gd name="T109" fmla="*/ 468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2" h="1929">
                  <a:moveTo>
                    <a:pt x="0" y="355"/>
                  </a:moveTo>
                  <a:lnTo>
                    <a:pt x="0" y="1929"/>
                  </a:lnTo>
                  <a:lnTo>
                    <a:pt x="532" y="1929"/>
                  </a:lnTo>
                  <a:lnTo>
                    <a:pt x="532" y="0"/>
                  </a:lnTo>
                  <a:lnTo>
                    <a:pt x="0" y="355"/>
                  </a:lnTo>
                  <a:close/>
                  <a:moveTo>
                    <a:pt x="69" y="1502"/>
                  </a:moveTo>
                  <a:lnTo>
                    <a:pt x="462" y="1502"/>
                  </a:lnTo>
                  <a:lnTo>
                    <a:pt x="462" y="1543"/>
                  </a:lnTo>
                  <a:lnTo>
                    <a:pt x="69" y="1543"/>
                  </a:lnTo>
                  <a:lnTo>
                    <a:pt x="69" y="1502"/>
                  </a:lnTo>
                  <a:close/>
                  <a:moveTo>
                    <a:pt x="69" y="1387"/>
                  </a:moveTo>
                  <a:lnTo>
                    <a:pt x="462" y="1387"/>
                  </a:lnTo>
                  <a:lnTo>
                    <a:pt x="462" y="1428"/>
                  </a:lnTo>
                  <a:lnTo>
                    <a:pt x="69" y="1428"/>
                  </a:lnTo>
                  <a:lnTo>
                    <a:pt x="69" y="1387"/>
                  </a:lnTo>
                  <a:close/>
                  <a:moveTo>
                    <a:pt x="69" y="1272"/>
                  </a:moveTo>
                  <a:lnTo>
                    <a:pt x="462" y="1272"/>
                  </a:lnTo>
                  <a:lnTo>
                    <a:pt x="462" y="1315"/>
                  </a:lnTo>
                  <a:lnTo>
                    <a:pt x="69" y="1315"/>
                  </a:lnTo>
                  <a:lnTo>
                    <a:pt x="69" y="1272"/>
                  </a:lnTo>
                  <a:close/>
                  <a:moveTo>
                    <a:pt x="69" y="1157"/>
                  </a:moveTo>
                  <a:lnTo>
                    <a:pt x="462" y="1157"/>
                  </a:lnTo>
                  <a:lnTo>
                    <a:pt x="462" y="1200"/>
                  </a:lnTo>
                  <a:lnTo>
                    <a:pt x="69" y="1200"/>
                  </a:lnTo>
                  <a:lnTo>
                    <a:pt x="69" y="1157"/>
                  </a:lnTo>
                  <a:close/>
                  <a:moveTo>
                    <a:pt x="69" y="1044"/>
                  </a:moveTo>
                  <a:lnTo>
                    <a:pt x="462" y="1044"/>
                  </a:lnTo>
                  <a:lnTo>
                    <a:pt x="462" y="1085"/>
                  </a:lnTo>
                  <a:lnTo>
                    <a:pt x="69" y="1085"/>
                  </a:lnTo>
                  <a:lnTo>
                    <a:pt x="69" y="1044"/>
                  </a:lnTo>
                  <a:close/>
                  <a:moveTo>
                    <a:pt x="69" y="929"/>
                  </a:moveTo>
                  <a:lnTo>
                    <a:pt x="462" y="929"/>
                  </a:lnTo>
                  <a:lnTo>
                    <a:pt x="462" y="969"/>
                  </a:lnTo>
                  <a:lnTo>
                    <a:pt x="69" y="969"/>
                  </a:lnTo>
                  <a:lnTo>
                    <a:pt x="69" y="929"/>
                  </a:lnTo>
                  <a:close/>
                  <a:moveTo>
                    <a:pt x="69" y="814"/>
                  </a:moveTo>
                  <a:lnTo>
                    <a:pt x="462" y="814"/>
                  </a:lnTo>
                  <a:lnTo>
                    <a:pt x="462" y="854"/>
                  </a:lnTo>
                  <a:lnTo>
                    <a:pt x="69" y="854"/>
                  </a:lnTo>
                  <a:lnTo>
                    <a:pt x="69" y="814"/>
                  </a:lnTo>
                  <a:close/>
                  <a:moveTo>
                    <a:pt x="69" y="698"/>
                  </a:moveTo>
                  <a:lnTo>
                    <a:pt x="462" y="698"/>
                  </a:lnTo>
                  <a:lnTo>
                    <a:pt x="462" y="739"/>
                  </a:lnTo>
                  <a:lnTo>
                    <a:pt x="69" y="739"/>
                  </a:lnTo>
                  <a:lnTo>
                    <a:pt x="69" y="698"/>
                  </a:lnTo>
                  <a:close/>
                  <a:moveTo>
                    <a:pt x="69" y="583"/>
                  </a:moveTo>
                  <a:lnTo>
                    <a:pt x="462" y="583"/>
                  </a:lnTo>
                  <a:lnTo>
                    <a:pt x="462" y="626"/>
                  </a:lnTo>
                  <a:lnTo>
                    <a:pt x="69" y="626"/>
                  </a:lnTo>
                  <a:lnTo>
                    <a:pt x="69" y="583"/>
                  </a:lnTo>
                  <a:close/>
                  <a:moveTo>
                    <a:pt x="69" y="468"/>
                  </a:moveTo>
                  <a:lnTo>
                    <a:pt x="462" y="468"/>
                  </a:lnTo>
                  <a:lnTo>
                    <a:pt x="462" y="511"/>
                  </a:lnTo>
                  <a:lnTo>
                    <a:pt x="69" y="511"/>
                  </a:lnTo>
                  <a:lnTo>
                    <a:pt x="69" y="4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7" name="iŝļïďe"/>
            <p:cNvSpPr/>
            <p:nvPr/>
          </p:nvSpPr>
          <p:spPr bwMode="auto">
            <a:xfrm>
              <a:off x="107951" y="3571875"/>
              <a:ext cx="844550" cy="2551113"/>
            </a:xfrm>
            <a:custGeom>
              <a:avLst/>
              <a:gdLst>
                <a:gd name="T0" fmla="*/ 0 w 532"/>
                <a:gd name="T1" fmla="*/ 314 h 1607"/>
                <a:gd name="T2" fmla="*/ 0 w 532"/>
                <a:gd name="T3" fmla="*/ 1607 h 1607"/>
                <a:gd name="T4" fmla="*/ 532 w 532"/>
                <a:gd name="T5" fmla="*/ 1607 h 1607"/>
                <a:gd name="T6" fmla="*/ 532 w 532"/>
                <a:gd name="T7" fmla="*/ 314 h 1607"/>
                <a:gd name="T8" fmla="*/ 347 w 532"/>
                <a:gd name="T9" fmla="*/ 314 h 1607"/>
                <a:gd name="T10" fmla="*/ 347 w 532"/>
                <a:gd name="T11" fmla="*/ 192 h 1607"/>
                <a:gd name="T12" fmla="*/ 242 w 532"/>
                <a:gd name="T13" fmla="*/ 192 h 1607"/>
                <a:gd name="T14" fmla="*/ 242 w 532"/>
                <a:gd name="T15" fmla="*/ 314 h 1607"/>
                <a:gd name="T16" fmla="*/ 163 w 532"/>
                <a:gd name="T17" fmla="*/ 314 h 1607"/>
                <a:gd name="T18" fmla="*/ 163 w 532"/>
                <a:gd name="T19" fmla="*/ 0 h 1607"/>
                <a:gd name="T20" fmla="*/ 55 w 532"/>
                <a:gd name="T21" fmla="*/ 0 h 1607"/>
                <a:gd name="T22" fmla="*/ 55 w 532"/>
                <a:gd name="T23" fmla="*/ 314 h 1607"/>
                <a:gd name="T24" fmla="*/ 0 w 532"/>
                <a:gd name="T25" fmla="*/ 314 h 1607"/>
                <a:gd name="T26" fmla="*/ 335 w 532"/>
                <a:gd name="T27" fmla="*/ 1226 h 1607"/>
                <a:gd name="T28" fmla="*/ 438 w 532"/>
                <a:gd name="T29" fmla="*/ 1226 h 1607"/>
                <a:gd name="T30" fmla="*/ 438 w 532"/>
                <a:gd name="T31" fmla="*/ 1329 h 1607"/>
                <a:gd name="T32" fmla="*/ 335 w 532"/>
                <a:gd name="T33" fmla="*/ 1329 h 1607"/>
                <a:gd name="T34" fmla="*/ 335 w 532"/>
                <a:gd name="T35" fmla="*/ 1226 h 1607"/>
                <a:gd name="T36" fmla="*/ 335 w 532"/>
                <a:gd name="T37" fmla="*/ 1034 h 1607"/>
                <a:gd name="T38" fmla="*/ 438 w 532"/>
                <a:gd name="T39" fmla="*/ 1034 h 1607"/>
                <a:gd name="T40" fmla="*/ 438 w 532"/>
                <a:gd name="T41" fmla="*/ 1137 h 1607"/>
                <a:gd name="T42" fmla="*/ 335 w 532"/>
                <a:gd name="T43" fmla="*/ 1137 h 1607"/>
                <a:gd name="T44" fmla="*/ 335 w 532"/>
                <a:gd name="T45" fmla="*/ 1034 h 1607"/>
                <a:gd name="T46" fmla="*/ 335 w 532"/>
                <a:gd name="T47" fmla="*/ 842 h 1607"/>
                <a:gd name="T48" fmla="*/ 438 w 532"/>
                <a:gd name="T49" fmla="*/ 842 h 1607"/>
                <a:gd name="T50" fmla="*/ 438 w 532"/>
                <a:gd name="T51" fmla="*/ 947 h 1607"/>
                <a:gd name="T52" fmla="*/ 335 w 532"/>
                <a:gd name="T53" fmla="*/ 947 h 1607"/>
                <a:gd name="T54" fmla="*/ 335 w 532"/>
                <a:gd name="T55" fmla="*/ 842 h 1607"/>
                <a:gd name="T56" fmla="*/ 335 w 532"/>
                <a:gd name="T57" fmla="*/ 652 h 1607"/>
                <a:gd name="T58" fmla="*/ 438 w 532"/>
                <a:gd name="T59" fmla="*/ 652 h 1607"/>
                <a:gd name="T60" fmla="*/ 438 w 532"/>
                <a:gd name="T61" fmla="*/ 755 h 1607"/>
                <a:gd name="T62" fmla="*/ 335 w 532"/>
                <a:gd name="T63" fmla="*/ 755 h 1607"/>
                <a:gd name="T64" fmla="*/ 335 w 532"/>
                <a:gd name="T65" fmla="*/ 652 h 1607"/>
                <a:gd name="T66" fmla="*/ 335 w 532"/>
                <a:gd name="T67" fmla="*/ 460 h 1607"/>
                <a:gd name="T68" fmla="*/ 438 w 532"/>
                <a:gd name="T69" fmla="*/ 460 h 1607"/>
                <a:gd name="T70" fmla="*/ 438 w 532"/>
                <a:gd name="T71" fmla="*/ 566 h 1607"/>
                <a:gd name="T72" fmla="*/ 335 w 532"/>
                <a:gd name="T73" fmla="*/ 566 h 1607"/>
                <a:gd name="T74" fmla="*/ 335 w 532"/>
                <a:gd name="T75" fmla="*/ 460 h 1607"/>
                <a:gd name="T76" fmla="*/ 93 w 532"/>
                <a:gd name="T77" fmla="*/ 1226 h 1607"/>
                <a:gd name="T78" fmla="*/ 196 w 532"/>
                <a:gd name="T79" fmla="*/ 1226 h 1607"/>
                <a:gd name="T80" fmla="*/ 196 w 532"/>
                <a:gd name="T81" fmla="*/ 1329 h 1607"/>
                <a:gd name="T82" fmla="*/ 93 w 532"/>
                <a:gd name="T83" fmla="*/ 1329 h 1607"/>
                <a:gd name="T84" fmla="*/ 93 w 532"/>
                <a:gd name="T85" fmla="*/ 1226 h 1607"/>
                <a:gd name="T86" fmla="*/ 93 w 532"/>
                <a:gd name="T87" fmla="*/ 1034 h 1607"/>
                <a:gd name="T88" fmla="*/ 196 w 532"/>
                <a:gd name="T89" fmla="*/ 1034 h 1607"/>
                <a:gd name="T90" fmla="*/ 196 w 532"/>
                <a:gd name="T91" fmla="*/ 1137 h 1607"/>
                <a:gd name="T92" fmla="*/ 93 w 532"/>
                <a:gd name="T93" fmla="*/ 1137 h 1607"/>
                <a:gd name="T94" fmla="*/ 93 w 532"/>
                <a:gd name="T95" fmla="*/ 1034 h 1607"/>
                <a:gd name="T96" fmla="*/ 93 w 532"/>
                <a:gd name="T97" fmla="*/ 842 h 1607"/>
                <a:gd name="T98" fmla="*/ 196 w 532"/>
                <a:gd name="T99" fmla="*/ 842 h 1607"/>
                <a:gd name="T100" fmla="*/ 196 w 532"/>
                <a:gd name="T101" fmla="*/ 947 h 1607"/>
                <a:gd name="T102" fmla="*/ 93 w 532"/>
                <a:gd name="T103" fmla="*/ 947 h 1607"/>
                <a:gd name="T104" fmla="*/ 93 w 532"/>
                <a:gd name="T105" fmla="*/ 842 h 1607"/>
                <a:gd name="T106" fmla="*/ 93 w 532"/>
                <a:gd name="T107" fmla="*/ 652 h 1607"/>
                <a:gd name="T108" fmla="*/ 196 w 532"/>
                <a:gd name="T109" fmla="*/ 652 h 1607"/>
                <a:gd name="T110" fmla="*/ 196 w 532"/>
                <a:gd name="T111" fmla="*/ 755 h 1607"/>
                <a:gd name="T112" fmla="*/ 93 w 532"/>
                <a:gd name="T113" fmla="*/ 755 h 1607"/>
                <a:gd name="T114" fmla="*/ 93 w 532"/>
                <a:gd name="T115" fmla="*/ 652 h 1607"/>
                <a:gd name="T116" fmla="*/ 93 w 532"/>
                <a:gd name="T117" fmla="*/ 460 h 1607"/>
                <a:gd name="T118" fmla="*/ 196 w 532"/>
                <a:gd name="T119" fmla="*/ 460 h 1607"/>
                <a:gd name="T120" fmla="*/ 196 w 532"/>
                <a:gd name="T121" fmla="*/ 566 h 1607"/>
                <a:gd name="T122" fmla="*/ 93 w 532"/>
                <a:gd name="T123" fmla="*/ 566 h 1607"/>
                <a:gd name="T124" fmla="*/ 93 w 532"/>
                <a:gd name="T125" fmla="*/ 46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2" h="1607">
                  <a:moveTo>
                    <a:pt x="0" y="314"/>
                  </a:moveTo>
                  <a:lnTo>
                    <a:pt x="0" y="1607"/>
                  </a:lnTo>
                  <a:lnTo>
                    <a:pt x="532" y="1607"/>
                  </a:lnTo>
                  <a:lnTo>
                    <a:pt x="532" y="314"/>
                  </a:lnTo>
                  <a:lnTo>
                    <a:pt x="347" y="314"/>
                  </a:lnTo>
                  <a:lnTo>
                    <a:pt x="347" y="192"/>
                  </a:lnTo>
                  <a:lnTo>
                    <a:pt x="242" y="192"/>
                  </a:lnTo>
                  <a:lnTo>
                    <a:pt x="242" y="314"/>
                  </a:lnTo>
                  <a:lnTo>
                    <a:pt x="163" y="314"/>
                  </a:lnTo>
                  <a:lnTo>
                    <a:pt x="163" y="0"/>
                  </a:lnTo>
                  <a:lnTo>
                    <a:pt x="55" y="0"/>
                  </a:lnTo>
                  <a:lnTo>
                    <a:pt x="55" y="314"/>
                  </a:lnTo>
                  <a:lnTo>
                    <a:pt x="0" y="314"/>
                  </a:lnTo>
                  <a:close/>
                  <a:moveTo>
                    <a:pt x="335" y="1226"/>
                  </a:moveTo>
                  <a:lnTo>
                    <a:pt x="438" y="1226"/>
                  </a:lnTo>
                  <a:lnTo>
                    <a:pt x="438" y="1329"/>
                  </a:lnTo>
                  <a:lnTo>
                    <a:pt x="335" y="1329"/>
                  </a:lnTo>
                  <a:lnTo>
                    <a:pt x="335" y="1226"/>
                  </a:lnTo>
                  <a:close/>
                  <a:moveTo>
                    <a:pt x="335" y="1034"/>
                  </a:moveTo>
                  <a:lnTo>
                    <a:pt x="438" y="1034"/>
                  </a:lnTo>
                  <a:lnTo>
                    <a:pt x="438" y="1137"/>
                  </a:lnTo>
                  <a:lnTo>
                    <a:pt x="335" y="1137"/>
                  </a:lnTo>
                  <a:lnTo>
                    <a:pt x="335" y="1034"/>
                  </a:lnTo>
                  <a:close/>
                  <a:moveTo>
                    <a:pt x="335" y="842"/>
                  </a:moveTo>
                  <a:lnTo>
                    <a:pt x="438" y="842"/>
                  </a:lnTo>
                  <a:lnTo>
                    <a:pt x="438" y="947"/>
                  </a:lnTo>
                  <a:lnTo>
                    <a:pt x="335" y="947"/>
                  </a:lnTo>
                  <a:lnTo>
                    <a:pt x="335" y="842"/>
                  </a:lnTo>
                  <a:close/>
                  <a:moveTo>
                    <a:pt x="335" y="652"/>
                  </a:moveTo>
                  <a:lnTo>
                    <a:pt x="438" y="652"/>
                  </a:lnTo>
                  <a:lnTo>
                    <a:pt x="438" y="755"/>
                  </a:lnTo>
                  <a:lnTo>
                    <a:pt x="335" y="755"/>
                  </a:lnTo>
                  <a:lnTo>
                    <a:pt x="335" y="652"/>
                  </a:lnTo>
                  <a:close/>
                  <a:moveTo>
                    <a:pt x="335" y="460"/>
                  </a:moveTo>
                  <a:lnTo>
                    <a:pt x="438" y="460"/>
                  </a:lnTo>
                  <a:lnTo>
                    <a:pt x="438" y="566"/>
                  </a:lnTo>
                  <a:lnTo>
                    <a:pt x="335" y="566"/>
                  </a:lnTo>
                  <a:lnTo>
                    <a:pt x="335" y="460"/>
                  </a:lnTo>
                  <a:close/>
                  <a:moveTo>
                    <a:pt x="93" y="1226"/>
                  </a:moveTo>
                  <a:lnTo>
                    <a:pt x="196" y="1226"/>
                  </a:lnTo>
                  <a:lnTo>
                    <a:pt x="196" y="1329"/>
                  </a:lnTo>
                  <a:lnTo>
                    <a:pt x="93" y="1329"/>
                  </a:lnTo>
                  <a:lnTo>
                    <a:pt x="93" y="1226"/>
                  </a:lnTo>
                  <a:close/>
                  <a:moveTo>
                    <a:pt x="93" y="1034"/>
                  </a:moveTo>
                  <a:lnTo>
                    <a:pt x="196" y="1034"/>
                  </a:lnTo>
                  <a:lnTo>
                    <a:pt x="196" y="1137"/>
                  </a:lnTo>
                  <a:lnTo>
                    <a:pt x="93" y="1137"/>
                  </a:lnTo>
                  <a:lnTo>
                    <a:pt x="93" y="1034"/>
                  </a:lnTo>
                  <a:close/>
                  <a:moveTo>
                    <a:pt x="93" y="842"/>
                  </a:moveTo>
                  <a:lnTo>
                    <a:pt x="196" y="842"/>
                  </a:lnTo>
                  <a:lnTo>
                    <a:pt x="196" y="947"/>
                  </a:lnTo>
                  <a:lnTo>
                    <a:pt x="93" y="947"/>
                  </a:lnTo>
                  <a:lnTo>
                    <a:pt x="93" y="842"/>
                  </a:lnTo>
                  <a:close/>
                  <a:moveTo>
                    <a:pt x="93" y="652"/>
                  </a:moveTo>
                  <a:lnTo>
                    <a:pt x="196" y="652"/>
                  </a:lnTo>
                  <a:lnTo>
                    <a:pt x="196" y="755"/>
                  </a:lnTo>
                  <a:lnTo>
                    <a:pt x="93" y="755"/>
                  </a:lnTo>
                  <a:lnTo>
                    <a:pt x="93" y="652"/>
                  </a:lnTo>
                  <a:close/>
                  <a:moveTo>
                    <a:pt x="93" y="460"/>
                  </a:moveTo>
                  <a:lnTo>
                    <a:pt x="196" y="460"/>
                  </a:lnTo>
                  <a:lnTo>
                    <a:pt x="196" y="566"/>
                  </a:lnTo>
                  <a:lnTo>
                    <a:pt x="93" y="566"/>
                  </a:lnTo>
                  <a:lnTo>
                    <a:pt x="93" y="4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8" name="işḻîdê"/>
            <p:cNvSpPr/>
            <p:nvPr/>
          </p:nvSpPr>
          <p:spPr bwMode="auto">
            <a:xfrm>
              <a:off x="3008313" y="2128838"/>
              <a:ext cx="844550" cy="3994150"/>
            </a:xfrm>
            <a:custGeom>
              <a:avLst/>
              <a:gdLst>
                <a:gd name="T0" fmla="*/ 0 w 532"/>
                <a:gd name="T1" fmla="*/ 463 h 2516"/>
                <a:gd name="T2" fmla="*/ 0 w 532"/>
                <a:gd name="T3" fmla="*/ 2516 h 2516"/>
                <a:gd name="T4" fmla="*/ 532 w 532"/>
                <a:gd name="T5" fmla="*/ 2516 h 2516"/>
                <a:gd name="T6" fmla="*/ 532 w 532"/>
                <a:gd name="T7" fmla="*/ 463 h 2516"/>
                <a:gd name="T8" fmla="*/ 258 w 532"/>
                <a:gd name="T9" fmla="*/ 0 h 2516"/>
                <a:gd name="T10" fmla="*/ 0 w 532"/>
                <a:gd name="T11" fmla="*/ 463 h 2516"/>
                <a:gd name="T12" fmla="*/ 371 w 532"/>
                <a:gd name="T13" fmla="*/ 1832 h 2516"/>
                <a:gd name="T14" fmla="*/ 443 w 532"/>
                <a:gd name="T15" fmla="*/ 1832 h 2516"/>
                <a:gd name="T16" fmla="*/ 443 w 532"/>
                <a:gd name="T17" fmla="*/ 2139 h 2516"/>
                <a:gd name="T18" fmla="*/ 371 w 532"/>
                <a:gd name="T19" fmla="*/ 2139 h 2516"/>
                <a:gd name="T20" fmla="*/ 371 w 532"/>
                <a:gd name="T21" fmla="*/ 1832 h 2516"/>
                <a:gd name="T22" fmla="*/ 371 w 532"/>
                <a:gd name="T23" fmla="*/ 1432 h 2516"/>
                <a:gd name="T24" fmla="*/ 443 w 532"/>
                <a:gd name="T25" fmla="*/ 1432 h 2516"/>
                <a:gd name="T26" fmla="*/ 443 w 532"/>
                <a:gd name="T27" fmla="*/ 1739 h 2516"/>
                <a:gd name="T28" fmla="*/ 371 w 532"/>
                <a:gd name="T29" fmla="*/ 1739 h 2516"/>
                <a:gd name="T30" fmla="*/ 371 w 532"/>
                <a:gd name="T31" fmla="*/ 1432 h 2516"/>
                <a:gd name="T32" fmla="*/ 371 w 532"/>
                <a:gd name="T33" fmla="*/ 630 h 2516"/>
                <a:gd name="T34" fmla="*/ 443 w 532"/>
                <a:gd name="T35" fmla="*/ 630 h 2516"/>
                <a:gd name="T36" fmla="*/ 443 w 532"/>
                <a:gd name="T37" fmla="*/ 938 h 2516"/>
                <a:gd name="T38" fmla="*/ 371 w 532"/>
                <a:gd name="T39" fmla="*/ 938 h 2516"/>
                <a:gd name="T40" fmla="*/ 371 w 532"/>
                <a:gd name="T41" fmla="*/ 630 h 2516"/>
                <a:gd name="T42" fmla="*/ 230 w 532"/>
                <a:gd name="T43" fmla="*/ 1832 h 2516"/>
                <a:gd name="T44" fmla="*/ 302 w 532"/>
                <a:gd name="T45" fmla="*/ 1832 h 2516"/>
                <a:gd name="T46" fmla="*/ 302 w 532"/>
                <a:gd name="T47" fmla="*/ 2139 h 2516"/>
                <a:gd name="T48" fmla="*/ 230 w 532"/>
                <a:gd name="T49" fmla="*/ 2139 h 2516"/>
                <a:gd name="T50" fmla="*/ 230 w 532"/>
                <a:gd name="T51" fmla="*/ 1832 h 2516"/>
                <a:gd name="T52" fmla="*/ 230 w 532"/>
                <a:gd name="T53" fmla="*/ 1432 h 2516"/>
                <a:gd name="T54" fmla="*/ 302 w 532"/>
                <a:gd name="T55" fmla="*/ 1432 h 2516"/>
                <a:gd name="T56" fmla="*/ 302 w 532"/>
                <a:gd name="T57" fmla="*/ 1739 h 2516"/>
                <a:gd name="T58" fmla="*/ 230 w 532"/>
                <a:gd name="T59" fmla="*/ 1739 h 2516"/>
                <a:gd name="T60" fmla="*/ 230 w 532"/>
                <a:gd name="T61" fmla="*/ 1432 h 2516"/>
                <a:gd name="T62" fmla="*/ 230 w 532"/>
                <a:gd name="T63" fmla="*/ 1031 h 2516"/>
                <a:gd name="T64" fmla="*/ 302 w 532"/>
                <a:gd name="T65" fmla="*/ 1031 h 2516"/>
                <a:gd name="T66" fmla="*/ 302 w 532"/>
                <a:gd name="T67" fmla="*/ 1338 h 2516"/>
                <a:gd name="T68" fmla="*/ 230 w 532"/>
                <a:gd name="T69" fmla="*/ 1338 h 2516"/>
                <a:gd name="T70" fmla="*/ 230 w 532"/>
                <a:gd name="T71" fmla="*/ 1031 h 2516"/>
                <a:gd name="T72" fmla="*/ 230 w 532"/>
                <a:gd name="T73" fmla="*/ 630 h 2516"/>
                <a:gd name="T74" fmla="*/ 302 w 532"/>
                <a:gd name="T75" fmla="*/ 630 h 2516"/>
                <a:gd name="T76" fmla="*/ 302 w 532"/>
                <a:gd name="T77" fmla="*/ 938 h 2516"/>
                <a:gd name="T78" fmla="*/ 230 w 532"/>
                <a:gd name="T79" fmla="*/ 938 h 2516"/>
                <a:gd name="T80" fmla="*/ 230 w 532"/>
                <a:gd name="T81" fmla="*/ 630 h 2516"/>
                <a:gd name="T82" fmla="*/ 88 w 532"/>
                <a:gd name="T83" fmla="*/ 1832 h 2516"/>
                <a:gd name="T84" fmla="*/ 160 w 532"/>
                <a:gd name="T85" fmla="*/ 1832 h 2516"/>
                <a:gd name="T86" fmla="*/ 160 w 532"/>
                <a:gd name="T87" fmla="*/ 2139 h 2516"/>
                <a:gd name="T88" fmla="*/ 88 w 532"/>
                <a:gd name="T89" fmla="*/ 2139 h 2516"/>
                <a:gd name="T90" fmla="*/ 88 w 532"/>
                <a:gd name="T91" fmla="*/ 1832 h 2516"/>
                <a:gd name="T92" fmla="*/ 88 w 532"/>
                <a:gd name="T93" fmla="*/ 1031 h 2516"/>
                <a:gd name="T94" fmla="*/ 160 w 532"/>
                <a:gd name="T95" fmla="*/ 1031 h 2516"/>
                <a:gd name="T96" fmla="*/ 160 w 532"/>
                <a:gd name="T97" fmla="*/ 1338 h 2516"/>
                <a:gd name="T98" fmla="*/ 88 w 532"/>
                <a:gd name="T99" fmla="*/ 1338 h 2516"/>
                <a:gd name="T100" fmla="*/ 88 w 532"/>
                <a:gd name="T101" fmla="*/ 1031 h 2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32" h="2516">
                  <a:moveTo>
                    <a:pt x="0" y="463"/>
                  </a:moveTo>
                  <a:lnTo>
                    <a:pt x="0" y="2516"/>
                  </a:lnTo>
                  <a:lnTo>
                    <a:pt x="532" y="2516"/>
                  </a:lnTo>
                  <a:lnTo>
                    <a:pt x="532" y="463"/>
                  </a:lnTo>
                  <a:lnTo>
                    <a:pt x="258" y="0"/>
                  </a:lnTo>
                  <a:lnTo>
                    <a:pt x="0" y="463"/>
                  </a:lnTo>
                  <a:close/>
                  <a:moveTo>
                    <a:pt x="371" y="1832"/>
                  </a:moveTo>
                  <a:lnTo>
                    <a:pt x="443" y="1832"/>
                  </a:lnTo>
                  <a:lnTo>
                    <a:pt x="443" y="2139"/>
                  </a:lnTo>
                  <a:lnTo>
                    <a:pt x="371" y="2139"/>
                  </a:lnTo>
                  <a:lnTo>
                    <a:pt x="371" y="1832"/>
                  </a:lnTo>
                  <a:close/>
                  <a:moveTo>
                    <a:pt x="371" y="1432"/>
                  </a:moveTo>
                  <a:lnTo>
                    <a:pt x="443" y="1432"/>
                  </a:lnTo>
                  <a:lnTo>
                    <a:pt x="443" y="1739"/>
                  </a:lnTo>
                  <a:lnTo>
                    <a:pt x="371" y="1739"/>
                  </a:lnTo>
                  <a:lnTo>
                    <a:pt x="371" y="1432"/>
                  </a:lnTo>
                  <a:close/>
                  <a:moveTo>
                    <a:pt x="371" y="630"/>
                  </a:moveTo>
                  <a:lnTo>
                    <a:pt x="443" y="630"/>
                  </a:lnTo>
                  <a:lnTo>
                    <a:pt x="443" y="938"/>
                  </a:lnTo>
                  <a:lnTo>
                    <a:pt x="371" y="938"/>
                  </a:lnTo>
                  <a:lnTo>
                    <a:pt x="371" y="630"/>
                  </a:lnTo>
                  <a:close/>
                  <a:moveTo>
                    <a:pt x="230" y="1832"/>
                  </a:moveTo>
                  <a:lnTo>
                    <a:pt x="302" y="1832"/>
                  </a:lnTo>
                  <a:lnTo>
                    <a:pt x="302" y="2139"/>
                  </a:lnTo>
                  <a:lnTo>
                    <a:pt x="230" y="2139"/>
                  </a:lnTo>
                  <a:lnTo>
                    <a:pt x="230" y="1832"/>
                  </a:lnTo>
                  <a:close/>
                  <a:moveTo>
                    <a:pt x="230" y="1432"/>
                  </a:moveTo>
                  <a:lnTo>
                    <a:pt x="302" y="1432"/>
                  </a:lnTo>
                  <a:lnTo>
                    <a:pt x="302" y="1739"/>
                  </a:lnTo>
                  <a:lnTo>
                    <a:pt x="230" y="1739"/>
                  </a:lnTo>
                  <a:lnTo>
                    <a:pt x="230" y="1432"/>
                  </a:lnTo>
                  <a:close/>
                  <a:moveTo>
                    <a:pt x="230" y="1031"/>
                  </a:moveTo>
                  <a:lnTo>
                    <a:pt x="302" y="1031"/>
                  </a:lnTo>
                  <a:lnTo>
                    <a:pt x="302" y="1338"/>
                  </a:lnTo>
                  <a:lnTo>
                    <a:pt x="230" y="1338"/>
                  </a:lnTo>
                  <a:lnTo>
                    <a:pt x="230" y="1031"/>
                  </a:lnTo>
                  <a:close/>
                  <a:moveTo>
                    <a:pt x="230" y="630"/>
                  </a:moveTo>
                  <a:lnTo>
                    <a:pt x="302" y="630"/>
                  </a:lnTo>
                  <a:lnTo>
                    <a:pt x="302" y="938"/>
                  </a:lnTo>
                  <a:lnTo>
                    <a:pt x="230" y="938"/>
                  </a:lnTo>
                  <a:lnTo>
                    <a:pt x="230" y="630"/>
                  </a:lnTo>
                  <a:close/>
                  <a:moveTo>
                    <a:pt x="88" y="1832"/>
                  </a:moveTo>
                  <a:lnTo>
                    <a:pt x="160" y="1832"/>
                  </a:lnTo>
                  <a:lnTo>
                    <a:pt x="160" y="2139"/>
                  </a:lnTo>
                  <a:lnTo>
                    <a:pt x="88" y="2139"/>
                  </a:lnTo>
                  <a:lnTo>
                    <a:pt x="88" y="1832"/>
                  </a:lnTo>
                  <a:close/>
                  <a:moveTo>
                    <a:pt x="88" y="1031"/>
                  </a:moveTo>
                  <a:lnTo>
                    <a:pt x="160" y="1031"/>
                  </a:lnTo>
                  <a:lnTo>
                    <a:pt x="160" y="1338"/>
                  </a:lnTo>
                  <a:lnTo>
                    <a:pt x="88" y="1338"/>
                  </a:lnTo>
                  <a:lnTo>
                    <a:pt x="88" y="10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9" name="îṡḻïḍê"/>
            <p:cNvSpPr/>
            <p:nvPr/>
          </p:nvSpPr>
          <p:spPr bwMode="auto">
            <a:xfrm>
              <a:off x="2041526" y="3784600"/>
              <a:ext cx="844550" cy="2338388"/>
            </a:xfrm>
            <a:custGeom>
              <a:avLst/>
              <a:gdLst>
                <a:gd name="T0" fmla="*/ 0 w 532"/>
                <a:gd name="T1" fmla="*/ 384 h 1473"/>
                <a:gd name="T2" fmla="*/ 0 w 532"/>
                <a:gd name="T3" fmla="*/ 1473 h 1473"/>
                <a:gd name="T4" fmla="*/ 532 w 532"/>
                <a:gd name="T5" fmla="*/ 1473 h 1473"/>
                <a:gd name="T6" fmla="*/ 532 w 532"/>
                <a:gd name="T7" fmla="*/ 384 h 1473"/>
                <a:gd name="T8" fmla="*/ 465 w 532"/>
                <a:gd name="T9" fmla="*/ 384 h 1473"/>
                <a:gd name="T10" fmla="*/ 465 w 532"/>
                <a:gd name="T11" fmla="*/ 283 h 1473"/>
                <a:gd name="T12" fmla="*/ 388 w 532"/>
                <a:gd name="T13" fmla="*/ 283 h 1473"/>
                <a:gd name="T14" fmla="*/ 388 w 532"/>
                <a:gd name="T15" fmla="*/ 0 h 1473"/>
                <a:gd name="T16" fmla="*/ 143 w 532"/>
                <a:gd name="T17" fmla="*/ 0 h 1473"/>
                <a:gd name="T18" fmla="*/ 143 w 532"/>
                <a:gd name="T19" fmla="*/ 283 h 1473"/>
                <a:gd name="T20" fmla="*/ 67 w 532"/>
                <a:gd name="T21" fmla="*/ 283 h 1473"/>
                <a:gd name="T22" fmla="*/ 67 w 532"/>
                <a:gd name="T23" fmla="*/ 384 h 1473"/>
                <a:gd name="T24" fmla="*/ 0 w 532"/>
                <a:gd name="T25" fmla="*/ 384 h 1473"/>
                <a:gd name="T26" fmla="*/ 362 w 532"/>
                <a:gd name="T27" fmla="*/ 1029 h 1473"/>
                <a:gd name="T28" fmla="*/ 457 w 532"/>
                <a:gd name="T29" fmla="*/ 1029 h 1473"/>
                <a:gd name="T30" fmla="*/ 457 w 532"/>
                <a:gd name="T31" fmla="*/ 1137 h 1473"/>
                <a:gd name="T32" fmla="*/ 362 w 532"/>
                <a:gd name="T33" fmla="*/ 1137 h 1473"/>
                <a:gd name="T34" fmla="*/ 362 w 532"/>
                <a:gd name="T35" fmla="*/ 1029 h 1473"/>
                <a:gd name="T36" fmla="*/ 362 w 532"/>
                <a:gd name="T37" fmla="*/ 681 h 1473"/>
                <a:gd name="T38" fmla="*/ 457 w 532"/>
                <a:gd name="T39" fmla="*/ 681 h 1473"/>
                <a:gd name="T40" fmla="*/ 457 w 532"/>
                <a:gd name="T41" fmla="*/ 792 h 1473"/>
                <a:gd name="T42" fmla="*/ 362 w 532"/>
                <a:gd name="T43" fmla="*/ 792 h 1473"/>
                <a:gd name="T44" fmla="*/ 362 w 532"/>
                <a:gd name="T45" fmla="*/ 681 h 1473"/>
                <a:gd name="T46" fmla="*/ 362 w 532"/>
                <a:gd name="T47" fmla="*/ 509 h 1473"/>
                <a:gd name="T48" fmla="*/ 457 w 532"/>
                <a:gd name="T49" fmla="*/ 509 h 1473"/>
                <a:gd name="T50" fmla="*/ 457 w 532"/>
                <a:gd name="T51" fmla="*/ 619 h 1473"/>
                <a:gd name="T52" fmla="*/ 362 w 532"/>
                <a:gd name="T53" fmla="*/ 619 h 1473"/>
                <a:gd name="T54" fmla="*/ 362 w 532"/>
                <a:gd name="T55" fmla="*/ 509 h 1473"/>
                <a:gd name="T56" fmla="*/ 218 w 532"/>
                <a:gd name="T57" fmla="*/ 854 h 1473"/>
                <a:gd name="T58" fmla="*/ 314 w 532"/>
                <a:gd name="T59" fmla="*/ 854 h 1473"/>
                <a:gd name="T60" fmla="*/ 314 w 532"/>
                <a:gd name="T61" fmla="*/ 964 h 1473"/>
                <a:gd name="T62" fmla="*/ 218 w 532"/>
                <a:gd name="T63" fmla="*/ 964 h 1473"/>
                <a:gd name="T64" fmla="*/ 218 w 532"/>
                <a:gd name="T65" fmla="*/ 854 h 1473"/>
                <a:gd name="T66" fmla="*/ 218 w 532"/>
                <a:gd name="T67" fmla="*/ 681 h 1473"/>
                <a:gd name="T68" fmla="*/ 314 w 532"/>
                <a:gd name="T69" fmla="*/ 681 h 1473"/>
                <a:gd name="T70" fmla="*/ 314 w 532"/>
                <a:gd name="T71" fmla="*/ 792 h 1473"/>
                <a:gd name="T72" fmla="*/ 218 w 532"/>
                <a:gd name="T73" fmla="*/ 792 h 1473"/>
                <a:gd name="T74" fmla="*/ 218 w 532"/>
                <a:gd name="T75" fmla="*/ 681 h 1473"/>
                <a:gd name="T76" fmla="*/ 218 w 532"/>
                <a:gd name="T77" fmla="*/ 509 h 1473"/>
                <a:gd name="T78" fmla="*/ 314 w 532"/>
                <a:gd name="T79" fmla="*/ 509 h 1473"/>
                <a:gd name="T80" fmla="*/ 314 w 532"/>
                <a:gd name="T81" fmla="*/ 619 h 1473"/>
                <a:gd name="T82" fmla="*/ 218 w 532"/>
                <a:gd name="T83" fmla="*/ 619 h 1473"/>
                <a:gd name="T84" fmla="*/ 218 w 532"/>
                <a:gd name="T85" fmla="*/ 509 h 1473"/>
                <a:gd name="T86" fmla="*/ 74 w 532"/>
                <a:gd name="T87" fmla="*/ 1029 h 1473"/>
                <a:gd name="T88" fmla="*/ 170 w 532"/>
                <a:gd name="T89" fmla="*/ 1029 h 1473"/>
                <a:gd name="T90" fmla="*/ 170 w 532"/>
                <a:gd name="T91" fmla="*/ 1137 h 1473"/>
                <a:gd name="T92" fmla="*/ 74 w 532"/>
                <a:gd name="T93" fmla="*/ 1137 h 1473"/>
                <a:gd name="T94" fmla="*/ 74 w 532"/>
                <a:gd name="T95" fmla="*/ 1029 h 1473"/>
                <a:gd name="T96" fmla="*/ 74 w 532"/>
                <a:gd name="T97" fmla="*/ 854 h 1473"/>
                <a:gd name="T98" fmla="*/ 170 w 532"/>
                <a:gd name="T99" fmla="*/ 854 h 1473"/>
                <a:gd name="T100" fmla="*/ 170 w 532"/>
                <a:gd name="T101" fmla="*/ 964 h 1473"/>
                <a:gd name="T102" fmla="*/ 74 w 532"/>
                <a:gd name="T103" fmla="*/ 964 h 1473"/>
                <a:gd name="T104" fmla="*/ 74 w 532"/>
                <a:gd name="T105" fmla="*/ 854 h 1473"/>
                <a:gd name="T106" fmla="*/ 74 w 532"/>
                <a:gd name="T107" fmla="*/ 681 h 1473"/>
                <a:gd name="T108" fmla="*/ 170 w 532"/>
                <a:gd name="T109" fmla="*/ 681 h 1473"/>
                <a:gd name="T110" fmla="*/ 170 w 532"/>
                <a:gd name="T111" fmla="*/ 792 h 1473"/>
                <a:gd name="T112" fmla="*/ 74 w 532"/>
                <a:gd name="T113" fmla="*/ 792 h 1473"/>
                <a:gd name="T114" fmla="*/ 74 w 532"/>
                <a:gd name="T115" fmla="*/ 681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2" h="1473">
                  <a:moveTo>
                    <a:pt x="0" y="384"/>
                  </a:moveTo>
                  <a:lnTo>
                    <a:pt x="0" y="1473"/>
                  </a:lnTo>
                  <a:lnTo>
                    <a:pt x="532" y="1473"/>
                  </a:lnTo>
                  <a:lnTo>
                    <a:pt x="532" y="384"/>
                  </a:lnTo>
                  <a:lnTo>
                    <a:pt x="465" y="384"/>
                  </a:lnTo>
                  <a:lnTo>
                    <a:pt x="465" y="283"/>
                  </a:lnTo>
                  <a:lnTo>
                    <a:pt x="388" y="283"/>
                  </a:lnTo>
                  <a:lnTo>
                    <a:pt x="388" y="0"/>
                  </a:lnTo>
                  <a:lnTo>
                    <a:pt x="143" y="0"/>
                  </a:lnTo>
                  <a:lnTo>
                    <a:pt x="143" y="283"/>
                  </a:lnTo>
                  <a:lnTo>
                    <a:pt x="67" y="283"/>
                  </a:lnTo>
                  <a:lnTo>
                    <a:pt x="67" y="384"/>
                  </a:lnTo>
                  <a:lnTo>
                    <a:pt x="0" y="384"/>
                  </a:lnTo>
                  <a:close/>
                  <a:moveTo>
                    <a:pt x="362" y="1029"/>
                  </a:moveTo>
                  <a:lnTo>
                    <a:pt x="457" y="1029"/>
                  </a:lnTo>
                  <a:lnTo>
                    <a:pt x="457" y="1137"/>
                  </a:lnTo>
                  <a:lnTo>
                    <a:pt x="362" y="1137"/>
                  </a:lnTo>
                  <a:lnTo>
                    <a:pt x="362" y="1029"/>
                  </a:lnTo>
                  <a:close/>
                  <a:moveTo>
                    <a:pt x="362" y="681"/>
                  </a:moveTo>
                  <a:lnTo>
                    <a:pt x="457" y="681"/>
                  </a:lnTo>
                  <a:lnTo>
                    <a:pt x="457" y="792"/>
                  </a:lnTo>
                  <a:lnTo>
                    <a:pt x="362" y="792"/>
                  </a:lnTo>
                  <a:lnTo>
                    <a:pt x="362" y="681"/>
                  </a:lnTo>
                  <a:close/>
                  <a:moveTo>
                    <a:pt x="362" y="509"/>
                  </a:moveTo>
                  <a:lnTo>
                    <a:pt x="457" y="509"/>
                  </a:lnTo>
                  <a:lnTo>
                    <a:pt x="457" y="619"/>
                  </a:lnTo>
                  <a:lnTo>
                    <a:pt x="362" y="619"/>
                  </a:lnTo>
                  <a:lnTo>
                    <a:pt x="362" y="509"/>
                  </a:lnTo>
                  <a:close/>
                  <a:moveTo>
                    <a:pt x="218" y="854"/>
                  </a:moveTo>
                  <a:lnTo>
                    <a:pt x="314" y="854"/>
                  </a:lnTo>
                  <a:lnTo>
                    <a:pt x="314" y="964"/>
                  </a:lnTo>
                  <a:lnTo>
                    <a:pt x="218" y="964"/>
                  </a:lnTo>
                  <a:lnTo>
                    <a:pt x="218" y="854"/>
                  </a:lnTo>
                  <a:close/>
                  <a:moveTo>
                    <a:pt x="218" y="681"/>
                  </a:moveTo>
                  <a:lnTo>
                    <a:pt x="314" y="681"/>
                  </a:lnTo>
                  <a:lnTo>
                    <a:pt x="314" y="792"/>
                  </a:lnTo>
                  <a:lnTo>
                    <a:pt x="218" y="792"/>
                  </a:lnTo>
                  <a:lnTo>
                    <a:pt x="218" y="681"/>
                  </a:lnTo>
                  <a:close/>
                  <a:moveTo>
                    <a:pt x="218" y="509"/>
                  </a:moveTo>
                  <a:lnTo>
                    <a:pt x="314" y="509"/>
                  </a:lnTo>
                  <a:lnTo>
                    <a:pt x="314" y="619"/>
                  </a:lnTo>
                  <a:lnTo>
                    <a:pt x="218" y="619"/>
                  </a:lnTo>
                  <a:lnTo>
                    <a:pt x="218" y="509"/>
                  </a:lnTo>
                  <a:close/>
                  <a:moveTo>
                    <a:pt x="74" y="1029"/>
                  </a:moveTo>
                  <a:lnTo>
                    <a:pt x="170" y="1029"/>
                  </a:lnTo>
                  <a:lnTo>
                    <a:pt x="170" y="1137"/>
                  </a:lnTo>
                  <a:lnTo>
                    <a:pt x="74" y="1137"/>
                  </a:lnTo>
                  <a:lnTo>
                    <a:pt x="74" y="1029"/>
                  </a:lnTo>
                  <a:close/>
                  <a:moveTo>
                    <a:pt x="74" y="854"/>
                  </a:moveTo>
                  <a:lnTo>
                    <a:pt x="170" y="854"/>
                  </a:lnTo>
                  <a:lnTo>
                    <a:pt x="170" y="964"/>
                  </a:lnTo>
                  <a:lnTo>
                    <a:pt x="74" y="964"/>
                  </a:lnTo>
                  <a:lnTo>
                    <a:pt x="74" y="854"/>
                  </a:lnTo>
                  <a:close/>
                  <a:moveTo>
                    <a:pt x="74" y="681"/>
                  </a:moveTo>
                  <a:lnTo>
                    <a:pt x="170" y="681"/>
                  </a:lnTo>
                  <a:lnTo>
                    <a:pt x="170" y="792"/>
                  </a:lnTo>
                  <a:lnTo>
                    <a:pt x="74" y="792"/>
                  </a:lnTo>
                  <a:lnTo>
                    <a:pt x="74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60" name="iṧlïḋe"/>
            <p:cNvSpPr/>
            <p:nvPr/>
          </p:nvSpPr>
          <p:spPr bwMode="auto">
            <a:xfrm>
              <a:off x="4940301" y="3128963"/>
              <a:ext cx="846138" cy="2994025"/>
            </a:xfrm>
            <a:custGeom>
              <a:avLst/>
              <a:gdLst>
                <a:gd name="T0" fmla="*/ 0 w 533"/>
                <a:gd name="T1" fmla="*/ 1886 h 1886"/>
                <a:gd name="T2" fmla="*/ 533 w 533"/>
                <a:gd name="T3" fmla="*/ 92 h 1886"/>
                <a:gd name="T4" fmla="*/ 487 w 533"/>
                <a:gd name="T5" fmla="*/ 0 h 1886"/>
                <a:gd name="T6" fmla="*/ 202 w 533"/>
                <a:gd name="T7" fmla="*/ 92 h 1886"/>
                <a:gd name="T8" fmla="*/ 310 w 533"/>
                <a:gd name="T9" fmla="*/ 1466 h 1886"/>
                <a:gd name="T10" fmla="*/ 456 w 533"/>
                <a:gd name="T11" fmla="*/ 1517 h 1886"/>
                <a:gd name="T12" fmla="*/ 310 w 533"/>
                <a:gd name="T13" fmla="*/ 1466 h 1886"/>
                <a:gd name="T14" fmla="*/ 456 w 533"/>
                <a:gd name="T15" fmla="*/ 1346 h 1886"/>
                <a:gd name="T16" fmla="*/ 310 w 533"/>
                <a:gd name="T17" fmla="*/ 1397 h 1886"/>
                <a:gd name="T18" fmla="*/ 310 w 533"/>
                <a:gd name="T19" fmla="*/ 1226 h 1886"/>
                <a:gd name="T20" fmla="*/ 456 w 533"/>
                <a:gd name="T21" fmla="*/ 1277 h 1886"/>
                <a:gd name="T22" fmla="*/ 310 w 533"/>
                <a:gd name="T23" fmla="*/ 1226 h 1886"/>
                <a:gd name="T24" fmla="*/ 456 w 533"/>
                <a:gd name="T25" fmla="*/ 1106 h 1886"/>
                <a:gd name="T26" fmla="*/ 310 w 533"/>
                <a:gd name="T27" fmla="*/ 1157 h 1886"/>
                <a:gd name="T28" fmla="*/ 310 w 533"/>
                <a:gd name="T29" fmla="*/ 866 h 1886"/>
                <a:gd name="T30" fmla="*/ 456 w 533"/>
                <a:gd name="T31" fmla="*/ 917 h 1886"/>
                <a:gd name="T32" fmla="*/ 310 w 533"/>
                <a:gd name="T33" fmla="*/ 866 h 1886"/>
                <a:gd name="T34" fmla="*/ 456 w 533"/>
                <a:gd name="T35" fmla="*/ 747 h 1886"/>
                <a:gd name="T36" fmla="*/ 310 w 533"/>
                <a:gd name="T37" fmla="*/ 797 h 1886"/>
                <a:gd name="T38" fmla="*/ 310 w 533"/>
                <a:gd name="T39" fmla="*/ 627 h 1886"/>
                <a:gd name="T40" fmla="*/ 456 w 533"/>
                <a:gd name="T41" fmla="*/ 677 h 1886"/>
                <a:gd name="T42" fmla="*/ 310 w 533"/>
                <a:gd name="T43" fmla="*/ 627 h 1886"/>
                <a:gd name="T44" fmla="*/ 456 w 533"/>
                <a:gd name="T45" fmla="*/ 507 h 1886"/>
                <a:gd name="T46" fmla="*/ 310 w 533"/>
                <a:gd name="T47" fmla="*/ 557 h 1886"/>
                <a:gd name="T48" fmla="*/ 310 w 533"/>
                <a:gd name="T49" fmla="*/ 267 h 1886"/>
                <a:gd name="T50" fmla="*/ 456 w 533"/>
                <a:gd name="T51" fmla="*/ 317 h 1886"/>
                <a:gd name="T52" fmla="*/ 310 w 533"/>
                <a:gd name="T53" fmla="*/ 267 h 1886"/>
                <a:gd name="T54" fmla="*/ 223 w 533"/>
                <a:gd name="T55" fmla="*/ 1586 h 1886"/>
                <a:gd name="T56" fmla="*/ 77 w 533"/>
                <a:gd name="T57" fmla="*/ 1637 h 1886"/>
                <a:gd name="T58" fmla="*/ 77 w 533"/>
                <a:gd name="T59" fmla="*/ 1466 h 1886"/>
                <a:gd name="T60" fmla="*/ 223 w 533"/>
                <a:gd name="T61" fmla="*/ 1517 h 1886"/>
                <a:gd name="T62" fmla="*/ 77 w 533"/>
                <a:gd name="T63" fmla="*/ 1466 h 1886"/>
                <a:gd name="T64" fmla="*/ 223 w 533"/>
                <a:gd name="T65" fmla="*/ 1226 h 1886"/>
                <a:gd name="T66" fmla="*/ 77 w 533"/>
                <a:gd name="T67" fmla="*/ 1277 h 1886"/>
                <a:gd name="T68" fmla="*/ 77 w 533"/>
                <a:gd name="T69" fmla="*/ 986 h 1886"/>
                <a:gd name="T70" fmla="*/ 223 w 533"/>
                <a:gd name="T71" fmla="*/ 1037 h 1886"/>
                <a:gd name="T72" fmla="*/ 77 w 533"/>
                <a:gd name="T73" fmla="*/ 986 h 1886"/>
                <a:gd name="T74" fmla="*/ 223 w 533"/>
                <a:gd name="T75" fmla="*/ 866 h 1886"/>
                <a:gd name="T76" fmla="*/ 77 w 533"/>
                <a:gd name="T77" fmla="*/ 917 h 1886"/>
                <a:gd name="T78" fmla="*/ 77 w 533"/>
                <a:gd name="T79" fmla="*/ 627 h 1886"/>
                <a:gd name="T80" fmla="*/ 223 w 533"/>
                <a:gd name="T81" fmla="*/ 677 h 1886"/>
                <a:gd name="T82" fmla="*/ 77 w 533"/>
                <a:gd name="T83" fmla="*/ 627 h 1886"/>
                <a:gd name="T84" fmla="*/ 223 w 533"/>
                <a:gd name="T85" fmla="*/ 387 h 1886"/>
                <a:gd name="T86" fmla="*/ 77 w 533"/>
                <a:gd name="T87" fmla="*/ 437 h 1886"/>
                <a:gd name="T88" fmla="*/ 77 w 533"/>
                <a:gd name="T89" fmla="*/ 267 h 1886"/>
                <a:gd name="T90" fmla="*/ 223 w 533"/>
                <a:gd name="T91" fmla="*/ 317 h 1886"/>
                <a:gd name="T92" fmla="*/ 77 w 533"/>
                <a:gd name="T93" fmla="*/ 267 h 1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3" h="1886">
                  <a:moveTo>
                    <a:pt x="0" y="92"/>
                  </a:moveTo>
                  <a:lnTo>
                    <a:pt x="0" y="1886"/>
                  </a:lnTo>
                  <a:lnTo>
                    <a:pt x="533" y="1886"/>
                  </a:lnTo>
                  <a:lnTo>
                    <a:pt x="533" y="92"/>
                  </a:lnTo>
                  <a:lnTo>
                    <a:pt x="487" y="92"/>
                  </a:lnTo>
                  <a:lnTo>
                    <a:pt x="487" y="0"/>
                  </a:lnTo>
                  <a:lnTo>
                    <a:pt x="202" y="0"/>
                  </a:lnTo>
                  <a:lnTo>
                    <a:pt x="202" y="92"/>
                  </a:lnTo>
                  <a:lnTo>
                    <a:pt x="0" y="92"/>
                  </a:lnTo>
                  <a:close/>
                  <a:moveTo>
                    <a:pt x="310" y="1466"/>
                  </a:moveTo>
                  <a:lnTo>
                    <a:pt x="456" y="1466"/>
                  </a:lnTo>
                  <a:lnTo>
                    <a:pt x="456" y="1517"/>
                  </a:lnTo>
                  <a:lnTo>
                    <a:pt x="310" y="1517"/>
                  </a:lnTo>
                  <a:lnTo>
                    <a:pt x="310" y="1466"/>
                  </a:lnTo>
                  <a:close/>
                  <a:moveTo>
                    <a:pt x="310" y="1346"/>
                  </a:moveTo>
                  <a:lnTo>
                    <a:pt x="456" y="1346"/>
                  </a:lnTo>
                  <a:lnTo>
                    <a:pt x="456" y="1397"/>
                  </a:lnTo>
                  <a:lnTo>
                    <a:pt x="310" y="1397"/>
                  </a:lnTo>
                  <a:lnTo>
                    <a:pt x="310" y="1346"/>
                  </a:lnTo>
                  <a:close/>
                  <a:moveTo>
                    <a:pt x="310" y="1226"/>
                  </a:moveTo>
                  <a:lnTo>
                    <a:pt x="456" y="1226"/>
                  </a:lnTo>
                  <a:lnTo>
                    <a:pt x="456" y="1277"/>
                  </a:lnTo>
                  <a:lnTo>
                    <a:pt x="310" y="1277"/>
                  </a:lnTo>
                  <a:lnTo>
                    <a:pt x="310" y="1226"/>
                  </a:lnTo>
                  <a:close/>
                  <a:moveTo>
                    <a:pt x="310" y="1106"/>
                  </a:moveTo>
                  <a:lnTo>
                    <a:pt x="456" y="1106"/>
                  </a:lnTo>
                  <a:lnTo>
                    <a:pt x="456" y="1157"/>
                  </a:lnTo>
                  <a:lnTo>
                    <a:pt x="310" y="1157"/>
                  </a:lnTo>
                  <a:lnTo>
                    <a:pt x="310" y="1106"/>
                  </a:lnTo>
                  <a:close/>
                  <a:moveTo>
                    <a:pt x="310" y="866"/>
                  </a:moveTo>
                  <a:lnTo>
                    <a:pt x="456" y="866"/>
                  </a:lnTo>
                  <a:lnTo>
                    <a:pt x="456" y="917"/>
                  </a:lnTo>
                  <a:lnTo>
                    <a:pt x="310" y="917"/>
                  </a:lnTo>
                  <a:lnTo>
                    <a:pt x="310" y="866"/>
                  </a:lnTo>
                  <a:close/>
                  <a:moveTo>
                    <a:pt x="310" y="747"/>
                  </a:moveTo>
                  <a:lnTo>
                    <a:pt x="456" y="747"/>
                  </a:lnTo>
                  <a:lnTo>
                    <a:pt x="456" y="797"/>
                  </a:lnTo>
                  <a:lnTo>
                    <a:pt x="310" y="797"/>
                  </a:lnTo>
                  <a:lnTo>
                    <a:pt x="310" y="747"/>
                  </a:lnTo>
                  <a:close/>
                  <a:moveTo>
                    <a:pt x="310" y="627"/>
                  </a:moveTo>
                  <a:lnTo>
                    <a:pt x="456" y="627"/>
                  </a:lnTo>
                  <a:lnTo>
                    <a:pt x="456" y="677"/>
                  </a:lnTo>
                  <a:lnTo>
                    <a:pt x="310" y="677"/>
                  </a:lnTo>
                  <a:lnTo>
                    <a:pt x="310" y="627"/>
                  </a:lnTo>
                  <a:close/>
                  <a:moveTo>
                    <a:pt x="310" y="507"/>
                  </a:moveTo>
                  <a:lnTo>
                    <a:pt x="456" y="507"/>
                  </a:lnTo>
                  <a:lnTo>
                    <a:pt x="456" y="557"/>
                  </a:lnTo>
                  <a:lnTo>
                    <a:pt x="310" y="557"/>
                  </a:lnTo>
                  <a:lnTo>
                    <a:pt x="310" y="507"/>
                  </a:lnTo>
                  <a:close/>
                  <a:moveTo>
                    <a:pt x="310" y="267"/>
                  </a:moveTo>
                  <a:lnTo>
                    <a:pt x="456" y="267"/>
                  </a:lnTo>
                  <a:lnTo>
                    <a:pt x="456" y="317"/>
                  </a:lnTo>
                  <a:lnTo>
                    <a:pt x="310" y="317"/>
                  </a:lnTo>
                  <a:lnTo>
                    <a:pt x="310" y="267"/>
                  </a:lnTo>
                  <a:close/>
                  <a:moveTo>
                    <a:pt x="77" y="1586"/>
                  </a:moveTo>
                  <a:lnTo>
                    <a:pt x="223" y="1586"/>
                  </a:lnTo>
                  <a:lnTo>
                    <a:pt x="223" y="1637"/>
                  </a:lnTo>
                  <a:lnTo>
                    <a:pt x="77" y="1637"/>
                  </a:lnTo>
                  <a:lnTo>
                    <a:pt x="77" y="1586"/>
                  </a:lnTo>
                  <a:close/>
                  <a:moveTo>
                    <a:pt x="77" y="1466"/>
                  </a:moveTo>
                  <a:lnTo>
                    <a:pt x="223" y="1466"/>
                  </a:lnTo>
                  <a:lnTo>
                    <a:pt x="223" y="1517"/>
                  </a:lnTo>
                  <a:lnTo>
                    <a:pt x="77" y="1517"/>
                  </a:lnTo>
                  <a:lnTo>
                    <a:pt x="77" y="1466"/>
                  </a:lnTo>
                  <a:close/>
                  <a:moveTo>
                    <a:pt x="77" y="1226"/>
                  </a:moveTo>
                  <a:lnTo>
                    <a:pt x="223" y="1226"/>
                  </a:lnTo>
                  <a:lnTo>
                    <a:pt x="223" y="1277"/>
                  </a:lnTo>
                  <a:lnTo>
                    <a:pt x="77" y="1277"/>
                  </a:lnTo>
                  <a:lnTo>
                    <a:pt x="77" y="1226"/>
                  </a:lnTo>
                  <a:close/>
                  <a:moveTo>
                    <a:pt x="77" y="986"/>
                  </a:moveTo>
                  <a:lnTo>
                    <a:pt x="223" y="986"/>
                  </a:lnTo>
                  <a:lnTo>
                    <a:pt x="223" y="1037"/>
                  </a:lnTo>
                  <a:lnTo>
                    <a:pt x="77" y="1037"/>
                  </a:lnTo>
                  <a:lnTo>
                    <a:pt x="77" y="986"/>
                  </a:lnTo>
                  <a:close/>
                  <a:moveTo>
                    <a:pt x="77" y="866"/>
                  </a:moveTo>
                  <a:lnTo>
                    <a:pt x="223" y="866"/>
                  </a:lnTo>
                  <a:lnTo>
                    <a:pt x="223" y="917"/>
                  </a:lnTo>
                  <a:lnTo>
                    <a:pt x="77" y="917"/>
                  </a:lnTo>
                  <a:lnTo>
                    <a:pt x="77" y="866"/>
                  </a:lnTo>
                  <a:close/>
                  <a:moveTo>
                    <a:pt x="77" y="627"/>
                  </a:moveTo>
                  <a:lnTo>
                    <a:pt x="223" y="627"/>
                  </a:lnTo>
                  <a:lnTo>
                    <a:pt x="223" y="677"/>
                  </a:lnTo>
                  <a:lnTo>
                    <a:pt x="77" y="677"/>
                  </a:lnTo>
                  <a:lnTo>
                    <a:pt x="77" y="627"/>
                  </a:lnTo>
                  <a:close/>
                  <a:moveTo>
                    <a:pt x="77" y="387"/>
                  </a:moveTo>
                  <a:lnTo>
                    <a:pt x="223" y="387"/>
                  </a:lnTo>
                  <a:lnTo>
                    <a:pt x="223" y="437"/>
                  </a:lnTo>
                  <a:lnTo>
                    <a:pt x="77" y="437"/>
                  </a:lnTo>
                  <a:lnTo>
                    <a:pt x="77" y="387"/>
                  </a:lnTo>
                  <a:close/>
                  <a:moveTo>
                    <a:pt x="77" y="267"/>
                  </a:moveTo>
                  <a:lnTo>
                    <a:pt x="223" y="267"/>
                  </a:lnTo>
                  <a:lnTo>
                    <a:pt x="223" y="317"/>
                  </a:lnTo>
                  <a:lnTo>
                    <a:pt x="77" y="317"/>
                  </a:lnTo>
                  <a:lnTo>
                    <a:pt x="7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61" name="íS1ïďe"/>
            <p:cNvSpPr/>
            <p:nvPr/>
          </p:nvSpPr>
          <p:spPr bwMode="auto">
            <a:xfrm>
              <a:off x="3973513" y="3460750"/>
              <a:ext cx="846138" cy="2662238"/>
            </a:xfrm>
            <a:custGeom>
              <a:avLst/>
              <a:gdLst>
                <a:gd name="T0" fmla="*/ 0 w 533"/>
                <a:gd name="T1" fmla="*/ 1677 h 1677"/>
                <a:gd name="T2" fmla="*/ 533 w 533"/>
                <a:gd name="T3" fmla="*/ 204 h 1677"/>
                <a:gd name="T4" fmla="*/ 437 w 533"/>
                <a:gd name="T5" fmla="*/ 0 h 1677"/>
                <a:gd name="T6" fmla="*/ 329 w 533"/>
                <a:gd name="T7" fmla="*/ 204 h 1677"/>
                <a:gd name="T8" fmla="*/ 401 w 533"/>
                <a:gd name="T9" fmla="*/ 1252 h 1677"/>
                <a:gd name="T10" fmla="*/ 473 w 533"/>
                <a:gd name="T11" fmla="*/ 1324 h 1677"/>
                <a:gd name="T12" fmla="*/ 401 w 533"/>
                <a:gd name="T13" fmla="*/ 1252 h 1677"/>
                <a:gd name="T14" fmla="*/ 473 w 533"/>
                <a:gd name="T15" fmla="*/ 1104 h 1677"/>
                <a:gd name="T16" fmla="*/ 401 w 533"/>
                <a:gd name="T17" fmla="*/ 1176 h 1677"/>
                <a:gd name="T18" fmla="*/ 401 w 533"/>
                <a:gd name="T19" fmla="*/ 957 h 1677"/>
                <a:gd name="T20" fmla="*/ 473 w 533"/>
                <a:gd name="T21" fmla="*/ 1029 h 1677"/>
                <a:gd name="T22" fmla="*/ 401 w 533"/>
                <a:gd name="T23" fmla="*/ 957 h 1677"/>
                <a:gd name="T24" fmla="*/ 473 w 533"/>
                <a:gd name="T25" fmla="*/ 811 h 1677"/>
                <a:gd name="T26" fmla="*/ 401 w 533"/>
                <a:gd name="T27" fmla="*/ 883 h 1677"/>
                <a:gd name="T28" fmla="*/ 401 w 533"/>
                <a:gd name="T29" fmla="*/ 662 h 1677"/>
                <a:gd name="T30" fmla="*/ 473 w 533"/>
                <a:gd name="T31" fmla="*/ 734 h 1677"/>
                <a:gd name="T32" fmla="*/ 401 w 533"/>
                <a:gd name="T33" fmla="*/ 662 h 1677"/>
                <a:gd name="T34" fmla="*/ 473 w 533"/>
                <a:gd name="T35" fmla="*/ 516 h 1677"/>
                <a:gd name="T36" fmla="*/ 401 w 533"/>
                <a:gd name="T37" fmla="*/ 588 h 1677"/>
                <a:gd name="T38" fmla="*/ 288 w 533"/>
                <a:gd name="T39" fmla="*/ 1104 h 1677"/>
                <a:gd name="T40" fmla="*/ 360 w 533"/>
                <a:gd name="T41" fmla="*/ 1176 h 1677"/>
                <a:gd name="T42" fmla="*/ 288 w 533"/>
                <a:gd name="T43" fmla="*/ 1104 h 1677"/>
                <a:gd name="T44" fmla="*/ 360 w 533"/>
                <a:gd name="T45" fmla="*/ 957 h 1677"/>
                <a:gd name="T46" fmla="*/ 288 w 533"/>
                <a:gd name="T47" fmla="*/ 1029 h 1677"/>
                <a:gd name="T48" fmla="*/ 288 w 533"/>
                <a:gd name="T49" fmla="*/ 662 h 1677"/>
                <a:gd name="T50" fmla="*/ 360 w 533"/>
                <a:gd name="T51" fmla="*/ 734 h 1677"/>
                <a:gd name="T52" fmla="*/ 288 w 533"/>
                <a:gd name="T53" fmla="*/ 662 h 1677"/>
                <a:gd name="T54" fmla="*/ 360 w 533"/>
                <a:gd name="T55" fmla="*/ 516 h 1677"/>
                <a:gd name="T56" fmla="*/ 288 w 533"/>
                <a:gd name="T57" fmla="*/ 588 h 1677"/>
                <a:gd name="T58" fmla="*/ 288 w 533"/>
                <a:gd name="T59" fmla="*/ 370 h 1677"/>
                <a:gd name="T60" fmla="*/ 360 w 533"/>
                <a:gd name="T61" fmla="*/ 442 h 1677"/>
                <a:gd name="T62" fmla="*/ 288 w 533"/>
                <a:gd name="T63" fmla="*/ 370 h 1677"/>
                <a:gd name="T64" fmla="*/ 245 w 533"/>
                <a:gd name="T65" fmla="*/ 1252 h 1677"/>
                <a:gd name="T66" fmla="*/ 173 w 533"/>
                <a:gd name="T67" fmla="*/ 1324 h 1677"/>
                <a:gd name="T68" fmla="*/ 173 w 533"/>
                <a:gd name="T69" fmla="*/ 1104 h 1677"/>
                <a:gd name="T70" fmla="*/ 245 w 533"/>
                <a:gd name="T71" fmla="*/ 1176 h 1677"/>
                <a:gd name="T72" fmla="*/ 173 w 533"/>
                <a:gd name="T73" fmla="*/ 1104 h 1677"/>
                <a:gd name="T74" fmla="*/ 245 w 533"/>
                <a:gd name="T75" fmla="*/ 811 h 1677"/>
                <a:gd name="T76" fmla="*/ 173 w 533"/>
                <a:gd name="T77" fmla="*/ 883 h 1677"/>
                <a:gd name="T78" fmla="*/ 173 w 533"/>
                <a:gd name="T79" fmla="*/ 662 h 1677"/>
                <a:gd name="T80" fmla="*/ 245 w 533"/>
                <a:gd name="T81" fmla="*/ 734 h 1677"/>
                <a:gd name="T82" fmla="*/ 173 w 533"/>
                <a:gd name="T83" fmla="*/ 662 h 1677"/>
                <a:gd name="T84" fmla="*/ 245 w 533"/>
                <a:gd name="T85" fmla="*/ 516 h 1677"/>
                <a:gd name="T86" fmla="*/ 173 w 533"/>
                <a:gd name="T87" fmla="*/ 588 h 1677"/>
                <a:gd name="T88" fmla="*/ 173 w 533"/>
                <a:gd name="T89" fmla="*/ 370 h 1677"/>
                <a:gd name="T90" fmla="*/ 245 w 533"/>
                <a:gd name="T91" fmla="*/ 442 h 1677"/>
                <a:gd name="T92" fmla="*/ 173 w 533"/>
                <a:gd name="T93" fmla="*/ 370 h 1677"/>
                <a:gd name="T94" fmla="*/ 132 w 533"/>
                <a:gd name="T95" fmla="*/ 1252 h 1677"/>
                <a:gd name="T96" fmla="*/ 60 w 533"/>
                <a:gd name="T97" fmla="*/ 1324 h 1677"/>
                <a:gd name="T98" fmla="*/ 60 w 533"/>
                <a:gd name="T99" fmla="*/ 1104 h 1677"/>
                <a:gd name="T100" fmla="*/ 132 w 533"/>
                <a:gd name="T101" fmla="*/ 1176 h 1677"/>
                <a:gd name="T102" fmla="*/ 60 w 533"/>
                <a:gd name="T103" fmla="*/ 1104 h 1677"/>
                <a:gd name="T104" fmla="*/ 132 w 533"/>
                <a:gd name="T105" fmla="*/ 957 h 1677"/>
                <a:gd name="T106" fmla="*/ 60 w 533"/>
                <a:gd name="T107" fmla="*/ 1029 h 1677"/>
                <a:gd name="T108" fmla="*/ 60 w 533"/>
                <a:gd name="T109" fmla="*/ 811 h 1677"/>
                <a:gd name="T110" fmla="*/ 132 w 533"/>
                <a:gd name="T111" fmla="*/ 883 h 1677"/>
                <a:gd name="T112" fmla="*/ 60 w 533"/>
                <a:gd name="T113" fmla="*/ 811 h 1677"/>
                <a:gd name="T114" fmla="*/ 132 w 533"/>
                <a:gd name="T115" fmla="*/ 516 h 1677"/>
                <a:gd name="T116" fmla="*/ 60 w 533"/>
                <a:gd name="T117" fmla="*/ 588 h 1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1677">
                  <a:moveTo>
                    <a:pt x="0" y="204"/>
                  </a:moveTo>
                  <a:lnTo>
                    <a:pt x="0" y="1677"/>
                  </a:lnTo>
                  <a:lnTo>
                    <a:pt x="533" y="1677"/>
                  </a:lnTo>
                  <a:lnTo>
                    <a:pt x="533" y="204"/>
                  </a:lnTo>
                  <a:lnTo>
                    <a:pt x="437" y="204"/>
                  </a:lnTo>
                  <a:lnTo>
                    <a:pt x="437" y="0"/>
                  </a:lnTo>
                  <a:lnTo>
                    <a:pt x="329" y="0"/>
                  </a:lnTo>
                  <a:lnTo>
                    <a:pt x="329" y="204"/>
                  </a:lnTo>
                  <a:lnTo>
                    <a:pt x="0" y="204"/>
                  </a:lnTo>
                  <a:close/>
                  <a:moveTo>
                    <a:pt x="401" y="1252"/>
                  </a:moveTo>
                  <a:lnTo>
                    <a:pt x="473" y="1252"/>
                  </a:lnTo>
                  <a:lnTo>
                    <a:pt x="473" y="1324"/>
                  </a:lnTo>
                  <a:lnTo>
                    <a:pt x="401" y="1324"/>
                  </a:lnTo>
                  <a:lnTo>
                    <a:pt x="401" y="1252"/>
                  </a:lnTo>
                  <a:close/>
                  <a:moveTo>
                    <a:pt x="401" y="1104"/>
                  </a:moveTo>
                  <a:lnTo>
                    <a:pt x="473" y="1104"/>
                  </a:lnTo>
                  <a:lnTo>
                    <a:pt x="473" y="1176"/>
                  </a:lnTo>
                  <a:lnTo>
                    <a:pt x="401" y="1176"/>
                  </a:lnTo>
                  <a:lnTo>
                    <a:pt x="401" y="1104"/>
                  </a:lnTo>
                  <a:close/>
                  <a:moveTo>
                    <a:pt x="401" y="957"/>
                  </a:moveTo>
                  <a:lnTo>
                    <a:pt x="473" y="957"/>
                  </a:lnTo>
                  <a:lnTo>
                    <a:pt x="473" y="1029"/>
                  </a:lnTo>
                  <a:lnTo>
                    <a:pt x="401" y="1029"/>
                  </a:lnTo>
                  <a:lnTo>
                    <a:pt x="401" y="957"/>
                  </a:lnTo>
                  <a:close/>
                  <a:moveTo>
                    <a:pt x="401" y="811"/>
                  </a:moveTo>
                  <a:lnTo>
                    <a:pt x="473" y="811"/>
                  </a:lnTo>
                  <a:lnTo>
                    <a:pt x="473" y="883"/>
                  </a:lnTo>
                  <a:lnTo>
                    <a:pt x="401" y="883"/>
                  </a:lnTo>
                  <a:lnTo>
                    <a:pt x="401" y="811"/>
                  </a:lnTo>
                  <a:close/>
                  <a:moveTo>
                    <a:pt x="401" y="662"/>
                  </a:moveTo>
                  <a:lnTo>
                    <a:pt x="473" y="662"/>
                  </a:lnTo>
                  <a:lnTo>
                    <a:pt x="473" y="734"/>
                  </a:lnTo>
                  <a:lnTo>
                    <a:pt x="401" y="734"/>
                  </a:lnTo>
                  <a:lnTo>
                    <a:pt x="401" y="662"/>
                  </a:lnTo>
                  <a:close/>
                  <a:moveTo>
                    <a:pt x="401" y="516"/>
                  </a:moveTo>
                  <a:lnTo>
                    <a:pt x="473" y="516"/>
                  </a:lnTo>
                  <a:lnTo>
                    <a:pt x="473" y="588"/>
                  </a:lnTo>
                  <a:lnTo>
                    <a:pt x="401" y="588"/>
                  </a:lnTo>
                  <a:lnTo>
                    <a:pt x="401" y="516"/>
                  </a:lnTo>
                  <a:close/>
                  <a:moveTo>
                    <a:pt x="288" y="1104"/>
                  </a:moveTo>
                  <a:lnTo>
                    <a:pt x="360" y="1104"/>
                  </a:lnTo>
                  <a:lnTo>
                    <a:pt x="360" y="1176"/>
                  </a:lnTo>
                  <a:lnTo>
                    <a:pt x="288" y="1176"/>
                  </a:lnTo>
                  <a:lnTo>
                    <a:pt x="288" y="1104"/>
                  </a:lnTo>
                  <a:close/>
                  <a:moveTo>
                    <a:pt x="288" y="957"/>
                  </a:moveTo>
                  <a:lnTo>
                    <a:pt x="360" y="957"/>
                  </a:lnTo>
                  <a:lnTo>
                    <a:pt x="360" y="1029"/>
                  </a:lnTo>
                  <a:lnTo>
                    <a:pt x="288" y="1029"/>
                  </a:lnTo>
                  <a:lnTo>
                    <a:pt x="288" y="957"/>
                  </a:lnTo>
                  <a:close/>
                  <a:moveTo>
                    <a:pt x="288" y="662"/>
                  </a:moveTo>
                  <a:lnTo>
                    <a:pt x="360" y="662"/>
                  </a:lnTo>
                  <a:lnTo>
                    <a:pt x="360" y="734"/>
                  </a:lnTo>
                  <a:lnTo>
                    <a:pt x="288" y="734"/>
                  </a:lnTo>
                  <a:lnTo>
                    <a:pt x="288" y="662"/>
                  </a:lnTo>
                  <a:close/>
                  <a:moveTo>
                    <a:pt x="288" y="516"/>
                  </a:moveTo>
                  <a:lnTo>
                    <a:pt x="360" y="516"/>
                  </a:lnTo>
                  <a:lnTo>
                    <a:pt x="360" y="588"/>
                  </a:lnTo>
                  <a:lnTo>
                    <a:pt x="288" y="588"/>
                  </a:lnTo>
                  <a:lnTo>
                    <a:pt x="288" y="516"/>
                  </a:lnTo>
                  <a:close/>
                  <a:moveTo>
                    <a:pt x="288" y="370"/>
                  </a:moveTo>
                  <a:lnTo>
                    <a:pt x="360" y="370"/>
                  </a:lnTo>
                  <a:lnTo>
                    <a:pt x="360" y="442"/>
                  </a:lnTo>
                  <a:lnTo>
                    <a:pt x="288" y="442"/>
                  </a:lnTo>
                  <a:lnTo>
                    <a:pt x="288" y="370"/>
                  </a:lnTo>
                  <a:close/>
                  <a:moveTo>
                    <a:pt x="173" y="1252"/>
                  </a:moveTo>
                  <a:lnTo>
                    <a:pt x="245" y="1252"/>
                  </a:lnTo>
                  <a:lnTo>
                    <a:pt x="245" y="1324"/>
                  </a:lnTo>
                  <a:lnTo>
                    <a:pt x="173" y="1324"/>
                  </a:lnTo>
                  <a:lnTo>
                    <a:pt x="173" y="1252"/>
                  </a:lnTo>
                  <a:close/>
                  <a:moveTo>
                    <a:pt x="173" y="1104"/>
                  </a:moveTo>
                  <a:lnTo>
                    <a:pt x="245" y="1104"/>
                  </a:lnTo>
                  <a:lnTo>
                    <a:pt x="245" y="1176"/>
                  </a:lnTo>
                  <a:lnTo>
                    <a:pt x="173" y="1176"/>
                  </a:lnTo>
                  <a:lnTo>
                    <a:pt x="173" y="1104"/>
                  </a:lnTo>
                  <a:close/>
                  <a:moveTo>
                    <a:pt x="173" y="811"/>
                  </a:moveTo>
                  <a:lnTo>
                    <a:pt x="245" y="811"/>
                  </a:lnTo>
                  <a:lnTo>
                    <a:pt x="245" y="883"/>
                  </a:lnTo>
                  <a:lnTo>
                    <a:pt x="173" y="883"/>
                  </a:lnTo>
                  <a:lnTo>
                    <a:pt x="173" y="811"/>
                  </a:lnTo>
                  <a:close/>
                  <a:moveTo>
                    <a:pt x="173" y="662"/>
                  </a:moveTo>
                  <a:lnTo>
                    <a:pt x="245" y="662"/>
                  </a:lnTo>
                  <a:lnTo>
                    <a:pt x="245" y="734"/>
                  </a:lnTo>
                  <a:lnTo>
                    <a:pt x="173" y="734"/>
                  </a:lnTo>
                  <a:lnTo>
                    <a:pt x="173" y="662"/>
                  </a:lnTo>
                  <a:close/>
                  <a:moveTo>
                    <a:pt x="173" y="516"/>
                  </a:moveTo>
                  <a:lnTo>
                    <a:pt x="245" y="516"/>
                  </a:lnTo>
                  <a:lnTo>
                    <a:pt x="245" y="588"/>
                  </a:lnTo>
                  <a:lnTo>
                    <a:pt x="173" y="588"/>
                  </a:lnTo>
                  <a:lnTo>
                    <a:pt x="173" y="516"/>
                  </a:lnTo>
                  <a:close/>
                  <a:moveTo>
                    <a:pt x="173" y="370"/>
                  </a:moveTo>
                  <a:lnTo>
                    <a:pt x="245" y="370"/>
                  </a:lnTo>
                  <a:lnTo>
                    <a:pt x="245" y="442"/>
                  </a:lnTo>
                  <a:lnTo>
                    <a:pt x="173" y="442"/>
                  </a:lnTo>
                  <a:lnTo>
                    <a:pt x="173" y="370"/>
                  </a:lnTo>
                  <a:close/>
                  <a:moveTo>
                    <a:pt x="60" y="1252"/>
                  </a:moveTo>
                  <a:lnTo>
                    <a:pt x="132" y="1252"/>
                  </a:lnTo>
                  <a:lnTo>
                    <a:pt x="132" y="1324"/>
                  </a:lnTo>
                  <a:lnTo>
                    <a:pt x="60" y="1324"/>
                  </a:lnTo>
                  <a:lnTo>
                    <a:pt x="60" y="1252"/>
                  </a:lnTo>
                  <a:close/>
                  <a:moveTo>
                    <a:pt x="60" y="1104"/>
                  </a:moveTo>
                  <a:lnTo>
                    <a:pt x="132" y="1104"/>
                  </a:lnTo>
                  <a:lnTo>
                    <a:pt x="132" y="1176"/>
                  </a:lnTo>
                  <a:lnTo>
                    <a:pt x="60" y="1176"/>
                  </a:lnTo>
                  <a:lnTo>
                    <a:pt x="60" y="1104"/>
                  </a:lnTo>
                  <a:close/>
                  <a:moveTo>
                    <a:pt x="60" y="957"/>
                  </a:moveTo>
                  <a:lnTo>
                    <a:pt x="132" y="957"/>
                  </a:lnTo>
                  <a:lnTo>
                    <a:pt x="132" y="1029"/>
                  </a:lnTo>
                  <a:lnTo>
                    <a:pt x="60" y="1029"/>
                  </a:lnTo>
                  <a:lnTo>
                    <a:pt x="60" y="957"/>
                  </a:lnTo>
                  <a:close/>
                  <a:moveTo>
                    <a:pt x="60" y="811"/>
                  </a:moveTo>
                  <a:lnTo>
                    <a:pt x="132" y="811"/>
                  </a:lnTo>
                  <a:lnTo>
                    <a:pt x="132" y="883"/>
                  </a:lnTo>
                  <a:lnTo>
                    <a:pt x="60" y="883"/>
                  </a:lnTo>
                  <a:lnTo>
                    <a:pt x="60" y="811"/>
                  </a:lnTo>
                  <a:close/>
                  <a:moveTo>
                    <a:pt x="60" y="516"/>
                  </a:moveTo>
                  <a:lnTo>
                    <a:pt x="132" y="516"/>
                  </a:lnTo>
                  <a:lnTo>
                    <a:pt x="132" y="588"/>
                  </a:lnTo>
                  <a:lnTo>
                    <a:pt x="60" y="588"/>
                  </a:lnTo>
                  <a:lnTo>
                    <a:pt x="60" y="5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62" name="í$ḷiďe"/>
            <p:cNvSpPr/>
            <p:nvPr/>
          </p:nvSpPr>
          <p:spPr bwMode="auto">
            <a:xfrm>
              <a:off x="5907088" y="4092575"/>
              <a:ext cx="846138" cy="2030413"/>
            </a:xfrm>
            <a:custGeom>
              <a:avLst/>
              <a:gdLst>
                <a:gd name="T0" fmla="*/ 0 w 533"/>
                <a:gd name="T1" fmla="*/ 224 h 1279"/>
                <a:gd name="T2" fmla="*/ 0 w 533"/>
                <a:gd name="T3" fmla="*/ 1279 h 1279"/>
                <a:gd name="T4" fmla="*/ 533 w 533"/>
                <a:gd name="T5" fmla="*/ 1279 h 1279"/>
                <a:gd name="T6" fmla="*/ 533 w 533"/>
                <a:gd name="T7" fmla="*/ 224 h 1279"/>
                <a:gd name="T8" fmla="*/ 451 w 533"/>
                <a:gd name="T9" fmla="*/ 224 h 1279"/>
                <a:gd name="T10" fmla="*/ 451 w 533"/>
                <a:gd name="T11" fmla="*/ 116 h 1279"/>
                <a:gd name="T12" fmla="*/ 82 w 533"/>
                <a:gd name="T13" fmla="*/ 0 h 1279"/>
                <a:gd name="T14" fmla="*/ 82 w 533"/>
                <a:gd name="T15" fmla="*/ 224 h 1279"/>
                <a:gd name="T16" fmla="*/ 0 w 533"/>
                <a:gd name="T17" fmla="*/ 224 h 1279"/>
                <a:gd name="T18" fmla="*/ 324 w 533"/>
                <a:gd name="T19" fmla="*/ 792 h 1279"/>
                <a:gd name="T20" fmla="*/ 432 w 533"/>
                <a:gd name="T21" fmla="*/ 792 h 1279"/>
                <a:gd name="T22" fmla="*/ 432 w 533"/>
                <a:gd name="T23" fmla="*/ 900 h 1279"/>
                <a:gd name="T24" fmla="*/ 324 w 533"/>
                <a:gd name="T25" fmla="*/ 900 h 1279"/>
                <a:gd name="T26" fmla="*/ 324 w 533"/>
                <a:gd name="T27" fmla="*/ 792 h 1279"/>
                <a:gd name="T28" fmla="*/ 324 w 533"/>
                <a:gd name="T29" fmla="*/ 574 h 1279"/>
                <a:gd name="T30" fmla="*/ 432 w 533"/>
                <a:gd name="T31" fmla="*/ 574 h 1279"/>
                <a:gd name="T32" fmla="*/ 432 w 533"/>
                <a:gd name="T33" fmla="*/ 682 h 1279"/>
                <a:gd name="T34" fmla="*/ 324 w 533"/>
                <a:gd name="T35" fmla="*/ 682 h 1279"/>
                <a:gd name="T36" fmla="*/ 324 w 533"/>
                <a:gd name="T37" fmla="*/ 574 h 1279"/>
                <a:gd name="T38" fmla="*/ 324 w 533"/>
                <a:gd name="T39" fmla="*/ 355 h 1279"/>
                <a:gd name="T40" fmla="*/ 432 w 533"/>
                <a:gd name="T41" fmla="*/ 355 h 1279"/>
                <a:gd name="T42" fmla="*/ 432 w 533"/>
                <a:gd name="T43" fmla="*/ 463 h 1279"/>
                <a:gd name="T44" fmla="*/ 324 w 533"/>
                <a:gd name="T45" fmla="*/ 463 h 1279"/>
                <a:gd name="T46" fmla="*/ 324 w 533"/>
                <a:gd name="T47" fmla="*/ 355 h 1279"/>
                <a:gd name="T48" fmla="*/ 101 w 533"/>
                <a:gd name="T49" fmla="*/ 792 h 1279"/>
                <a:gd name="T50" fmla="*/ 209 w 533"/>
                <a:gd name="T51" fmla="*/ 792 h 1279"/>
                <a:gd name="T52" fmla="*/ 209 w 533"/>
                <a:gd name="T53" fmla="*/ 900 h 1279"/>
                <a:gd name="T54" fmla="*/ 101 w 533"/>
                <a:gd name="T55" fmla="*/ 900 h 1279"/>
                <a:gd name="T56" fmla="*/ 101 w 533"/>
                <a:gd name="T57" fmla="*/ 792 h 1279"/>
                <a:gd name="T58" fmla="*/ 101 w 533"/>
                <a:gd name="T59" fmla="*/ 574 h 1279"/>
                <a:gd name="T60" fmla="*/ 209 w 533"/>
                <a:gd name="T61" fmla="*/ 574 h 1279"/>
                <a:gd name="T62" fmla="*/ 209 w 533"/>
                <a:gd name="T63" fmla="*/ 682 h 1279"/>
                <a:gd name="T64" fmla="*/ 101 w 533"/>
                <a:gd name="T65" fmla="*/ 682 h 1279"/>
                <a:gd name="T66" fmla="*/ 101 w 533"/>
                <a:gd name="T67" fmla="*/ 574 h 1279"/>
                <a:gd name="T68" fmla="*/ 101 w 533"/>
                <a:gd name="T69" fmla="*/ 355 h 1279"/>
                <a:gd name="T70" fmla="*/ 209 w 533"/>
                <a:gd name="T71" fmla="*/ 355 h 1279"/>
                <a:gd name="T72" fmla="*/ 209 w 533"/>
                <a:gd name="T73" fmla="*/ 463 h 1279"/>
                <a:gd name="T74" fmla="*/ 101 w 533"/>
                <a:gd name="T75" fmla="*/ 463 h 1279"/>
                <a:gd name="T76" fmla="*/ 101 w 533"/>
                <a:gd name="T77" fmla="*/ 35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3" h="1279">
                  <a:moveTo>
                    <a:pt x="0" y="224"/>
                  </a:moveTo>
                  <a:lnTo>
                    <a:pt x="0" y="1279"/>
                  </a:lnTo>
                  <a:lnTo>
                    <a:pt x="533" y="1279"/>
                  </a:lnTo>
                  <a:lnTo>
                    <a:pt x="533" y="224"/>
                  </a:lnTo>
                  <a:lnTo>
                    <a:pt x="451" y="224"/>
                  </a:lnTo>
                  <a:lnTo>
                    <a:pt x="451" y="116"/>
                  </a:lnTo>
                  <a:lnTo>
                    <a:pt x="82" y="0"/>
                  </a:lnTo>
                  <a:lnTo>
                    <a:pt x="82" y="224"/>
                  </a:lnTo>
                  <a:lnTo>
                    <a:pt x="0" y="224"/>
                  </a:lnTo>
                  <a:close/>
                  <a:moveTo>
                    <a:pt x="324" y="792"/>
                  </a:moveTo>
                  <a:lnTo>
                    <a:pt x="432" y="792"/>
                  </a:lnTo>
                  <a:lnTo>
                    <a:pt x="432" y="900"/>
                  </a:lnTo>
                  <a:lnTo>
                    <a:pt x="324" y="900"/>
                  </a:lnTo>
                  <a:lnTo>
                    <a:pt x="324" y="792"/>
                  </a:lnTo>
                  <a:close/>
                  <a:moveTo>
                    <a:pt x="324" y="574"/>
                  </a:moveTo>
                  <a:lnTo>
                    <a:pt x="432" y="574"/>
                  </a:lnTo>
                  <a:lnTo>
                    <a:pt x="432" y="682"/>
                  </a:lnTo>
                  <a:lnTo>
                    <a:pt x="324" y="682"/>
                  </a:lnTo>
                  <a:lnTo>
                    <a:pt x="324" y="574"/>
                  </a:lnTo>
                  <a:close/>
                  <a:moveTo>
                    <a:pt x="324" y="355"/>
                  </a:moveTo>
                  <a:lnTo>
                    <a:pt x="432" y="355"/>
                  </a:lnTo>
                  <a:lnTo>
                    <a:pt x="432" y="463"/>
                  </a:lnTo>
                  <a:lnTo>
                    <a:pt x="324" y="463"/>
                  </a:lnTo>
                  <a:lnTo>
                    <a:pt x="324" y="355"/>
                  </a:lnTo>
                  <a:close/>
                  <a:moveTo>
                    <a:pt x="101" y="792"/>
                  </a:moveTo>
                  <a:lnTo>
                    <a:pt x="209" y="792"/>
                  </a:lnTo>
                  <a:lnTo>
                    <a:pt x="209" y="900"/>
                  </a:lnTo>
                  <a:lnTo>
                    <a:pt x="101" y="900"/>
                  </a:lnTo>
                  <a:lnTo>
                    <a:pt x="101" y="792"/>
                  </a:lnTo>
                  <a:close/>
                  <a:moveTo>
                    <a:pt x="101" y="574"/>
                  </a:moveTo>
                  <a:lnTo>
                    <a:pt x="209" y="574"/>
                  </a:lnTo>
                  <a:lnTo>
                    <a:pt x="209" y="682"/>
                  </a:lnTo>
                  <a:lnTo>
                    <a:pt x="101" y="682"/>
                  </a:lnTo>
                  <a:lnTo>
                    <a:pt x="101" y="574"/>
                  </a:lnTo>
                  <a:close/>
                  <a:moveTo>
                    <a:pt x="101" y="355"/>
                  </a:moveTo>
                  <a:lnTo>
                    <a:pt x="209" y="355"/>
                  </a:lnTo>
                  <a:lnTo>
                    <a:pt x="209" y="463"/>
                  </a:lnTo>
                  <a:lnTo>
                    <a:pt x="101" y="463"/>
                  </a:lnTo>
                  <a:lnTo>
                    <a:pt x="101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</p:grpSp>
      <p:grpSp>
        <p:nvGrpSpPr>
          <p:cNvPr id="47" name="isḷidé"/>
          <p:cNvGrpSpPr/>
          <p:nvPr userDrawn="1"/>
        </p:nvGrpSpPr>
        <p:grpSpPr>
          <a:xfrm flipH="1">
            <a:off x="8587607" y="4206928"/>
            <a:ext cx="2807116" cy="1687220"/>
            <a:chOff x="107951" y="2128838"/>
            <a:chExt cx="6645275" cy="399415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8" name="íŝḻïḓè"/>
            <p:cNvSpPr/>
            <p:nvPr/>
          </p:nvSpPr>
          <p:spPr bwMode="auto">
            <a:xfrm>
              <a:off x="1074738" y="3060700"/>
              <a:ext cx="844550" cy="3062288"/>
            </a:xfrm>
            <a:custGeom>
              <a:avLst/>
              <a:gdLst>
                <a:gd name="T0" fmla="*/ 0 w 532"/>
                <a:gd name="T1" fmla="*/ 355 h 1929"/>
                <a:gd name="T2" fmla="*/ 0 w 532"/>
                <a:gd name="T3" fmla="*/ 1929 h 1929"/>
                <a:gd name="T4" fmla="*/ 532 w 532"/>
                <a:gd name="T5" fmla="*/ 1929 h 1929"/>
                <a:gd name="T6" fmla="*/ 532 w 532"/>
                <a:gd name="T7" fmla="*/ 0 h 1929"/>
                <a:gd name="T8" fmla="*/ 0 w 532"/>
                <a:gd name="T9" fmla="*/ 355 h 1929"/>
                <a:gd name="T10" fmla="*/ 69 w 532"/>
                <a:gd name="T11" fmla="*/ 1502 h 1929"/>
                <a:gd name="T12" fmla="*/ 462 w 532"/>
                <a:gd name="T13" fmla="*/ 1502 h 1929"/>
                <a:gd name="T14" fmla="*/ 462 w 532"/>
                <a:gd name="T15" fmla="*/ 1543 h 1929"/>
                <a:gd name="T16" fmla="*/ 69 w 532"/>
                <a:gd name="T17" fmla="*/ 1543 h 1929"/>
                <a:gd name="T18" fmla="*/ 69 w 532"/>
                <a:gd name="T19" fmla="*/ 1502 h 1929"/>
                <a:gd name="T20" fmla="*/ 69 w 532"/>
                <a:gd name="T21" fmla="*/ 1387 h 1929"/>
                <a:gd name="T22" fmla="*/ 462 w 532"/>
                <a:gd name="T23" fmla="*/ 1387 h 1929"/>
                <a:gd name="T24" fmla="*/ 462 w 532"/>
                <a:gd name="T25" fmla="*/ 1428 h 1929"/>
                <a:gd name="T26" fmla="*/ 69 w 532"/>
                <a:gd name="T27" fmla="*/ 1428 h 1929"/>
                <a:gd name="T28" fmla="*/ 69 w 532"/>
                <a:gd name="T29" fmla="*/ 1387 h 1929"/>
                <a:gd name="T30" fmla="*/ 69 w 532"/>
                <a:gd name="T31" fmla="*/ 1272 h 1929"/>
                <a:gd name="T32" fmla="*/ 462 w 532"/>
                <a:gd name="T33" fmla="*/ 1272 h 1929"/>
                <a:gd name="T34" fmla="*/ 462 w 532"/>
                <a:gd name="T35" fmla="*/ 1315 h 1929"/>
                <a:gd name="T36" fmla="*/ 69 w 532"/>
                <a:gd name="T37" fmla="*/ 1315 h 1929"/>
                <a:gd name="T38" fmla="*/ 69 w 532"/>
                <a:gd name="T39" fmla="*/ 1272 h 1929"/>
                <a:gd name="T40" fmla="*/ 69 w 532"/>
                <a:gd name="T41" fmla="*/ 1157 h 1929"/>
                <a:gd name="T42" fmla="*/ 462 w 532"/>
                <a:gd name="T43" fmla="*/ 1157 h 1929"/>
                <a:gd name="T44" fmla="*/ 462 w 532"/>
                <a:gd name="T45" fmla="*/ 1200 h 1929"/>
                <a:gd name="T46" fmla="*/ 69 w 532"/>
                <a:gd name="T47" fmla="*/ 1200 h 1929"/>
                <a:gd name="T48" fmla="*/ 69 w 532"/>
                <a:gd name="T49" fmla="*/ 1157 h 1929"/>
                <a:gd name="T50" fmla="*/ 69 w 532"/>
                <a:gd name="T51" fmla="*/ 1044 h 1929"/>
                <a:gd name="T52" fmla="*/ 462 w 532"/>
                <a:gd name="T53" fmla="*/ 1044 h 1929"/>
                <a:gd name="T54" fmla="*/ 462 w 532"/>
                <a:gd name="T55" fmla="*/ 1085 h 1929"/>
                <a:gd name="T56" fmla="*/ 69 w 532"/>
                <a:gd name="T57" fmla="*/ 1085 h 1929"/>
                <a:gd name="T58" fmla="*/ 69 w 532"/>
                <a:gd name="T59" fmla="*/ 1044 h 1929"/>
                <a:gd name="T60" fmla="*/ 69 w 532"/>
                <a:gd name="T61" fmla="*/ 929 h 1929"/>
                <a:gd name="T62" fmla="*/ 462 w 532"/>
                <a:gd name="T63" fmla="*/ 929 h 1929"/>
                <a:gd name="T64" fmla="*/ 462 w 532"/>
                <a:gd name="T65" fmla="*/ 969 h 1929"/>
                <a:gd name="T66" fmla="*/ 69 w 532"/>
                <a:gd name="T67" fmla="*/ 969 h 1929"/>
                <a:gd name="T68" fmla="*/ 69 w 532"/>
                <a:gd name="T69" fmla="*/ 929 h 1929"/>
                <a:gd name="T70" fmla="*/ 69 w 532"/>
                <a:gd name="T71" fmla="*/ 814 h 1929"/>
                <a:gd name="T72" fmla="*/ 462 w 532"/>
                <a:gd name="T73" fmla="*/ 814 h 1929"/>
                <a:gd name="T74" fmla="*/ 462 w 532"/>
                <a:gd name="T75" fmla="*/ 854 h 1929"/>
                <a:gd name="T76" fmla="*/ 69 w 532"/>
                <a:gd name="T77" fmla="*/ 854 h 1929"/>
                <a:gd name="T78" fmla="*/ 69 w 532"/>
                <a:gd name="T79" fmla="*/ 814 h 1929"/>
                <a:gd name="T80" fmla="*/ 69 w 532"/>
                <a:gd name="T81" fmla="*/ 698 h 1929"/>
                <a:gd name="T82" fmla="*/ 462 w 532"/>
                <a:gd name="T83" fmla="*/ 698 h 1929"/>
                <a:gd name="T84" fmla="*/ 462 w 532"/>
                <a:gd name="T85" fmla="*/ 739 h 1929"/>
                <a:gd name="T86" fmla="*/ 69 w 532"/>
                <a:gd name="T87" fmla="*/ 739 h 1929"/>
                <a:gd name="T88" fmla="*/ 69 w 532"/>
                <a:gd name="T89" fmla="*/ 698 h 1929"/>
                <a:gd name="T90" fmla="*/ 69 w 532"/>
                <a:gd name="T91" fmla="*/ 583 h 1929"/>
                <a:gd name="T92" fmla="*/ 462 w 532"/>
                <a:gd name="T93" fmla="*/ 583 h 1929"/>
                <a:gd name="T94" fmla="*/ 462 w 532"/>
                <a:gd name="T95" fmla="*/ 626 h 1929"/>
                <a:gd name="T96" fmla="*/ 69 w 532"/>
                <a:gd name="T97" fmla="*/ 626 h 1929"/>
                <a:gd name="T98" fmla="*/ 69 w 532"/>
                <a:gd name="T99" fmla="*/ 583 h 1929"/>
                <a:gd name="T100" fmla="*/ 69 w 532"/>
                <a:gd name="T101" fmla="*/ 468 h 1929"/>
                <a:gd name="T102" fmla="*/ 462 w 532"/>
                <a:gd name="T103" fmla="*/ 468 h 1929"/>
                <a:gd name="T104" fmla="*/ 462 w 532"/>
                <a:gd name="T105" fmla="*/ 511 h 1929"/>
                <a:gd name="T106" fmla="*/ 69 w 532"/>
                <a:gd name="T107" fmla="*/ 511 h 1929"/>
                <a:gd name="T108" fmla="*/ 69 w 532"/>
                <a:gd name="T109" fmla="*/ 468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2" h="1929">
                  <a:moveTo>
                    <a:pt x="0" y="355"/>
                  </a:moveTo>
                  <a:lnTo>
                    <a:pt x="0" y="1929"/>
                  </a:lnTo>
                  <a:lnTo>
                    <a:pt x="532" y="1929"/>
                  </a:lnTo>
                  <a:lnTo>
                    <a:pt x="532" y="0"/>
                  </a:lnTo>
                  <a:lnTo>
                    <a:pt x="0" y="355"/>
                  </a:lnTo>
                  <a:close/>
                  <a:moveTo>
                    <a:pt x="69" y="1502"/>
                  </a:moveTo>
                  <a:lnTo>
                    <a:pt x="462" y="1502"/>
                  </a:lnTo>
                  <a:lnTo>
                    <a:pt x="462" y="1543"/>
                  </a:lnTo>
                  <a:lnTo>
                    <a:pt x="69" y="1543"/>
                  </a:lnTo>
                  <a:lnTo>
                    <a:pt x="69" y="1502"/>
                  </a:lnTo>
                  <a:close/>
                  <a:moveTo>
                    <a:pt x="69" y="1387"/>
                  </a:moveTo>
                  <a:lnTo>
                    <a:pt x="462" y="1387"/>
                  </a:lnTo>
                  <a:lnTo>
                    <a:pt x="462" y="1428"/>
                  </a:lnTo>
                  <a:lnTo>
                    <a:pt x="69" y="1428"/>
                  </a:lnTo>
                  <a:lnTo>
                    <a:pt x="69" y="1387"/>
                  </a:lnTo>
                  <a:close/>
                  <a:moveTo>
                    <a:pt x="69" y="1272"/>
                  </a:moveTo>
                  <a:lnTo>
                    <a:pt x="462" y="1272"/>
                  </a:lnTo>
                  <a:lnTo>
                    <a:pt x="462" y="1315"/>
                  </a:lnTo>
                  <a:lnTo>
                    <a:pt x="69" y="1315"/>
                  </a:lnTo>
                  <a:lnTo>
                    <a:pt x="69" y="1272"/>
                  </a:lnTo>
                  <a:close/>
                  <a:moveTo>
                    <a:pt x="69" y="1157"/>
                  </a:moveTo>
                  <a:lnTo>
                    <a:pt x="462" y="1157"/>
                  </a:lnTo>
                  <a:lnTo>
                    <a:pt x="462" y="1200"/>
                  </a:lnTo>
                  <a:lnTo>
                    <a:pt x="69" y="1200"/>
                  </a:lnTo>
                  <a:lnTo>
                    <a:pt x="69" y="1157"/>
                  </a:lnTo>
                  <a:close/>
                  <a:moveTo>
                    <a:pt x="69" y="1044"/>
                  </a:moveTo>
                  <a:lnTo>
                    <a:pt x="462" y="1044"/>
                  </a:lnTo>
                  <a:lnTo>
                    <a:pt x="462" y="1085"/>
                  </a:lnTo>
                  <a:lnTo>
                    <a:pt x="69" y="1085"/>
                  </a:lnTo>
                  <a:lnTo>
                    <a:pt x="69" y="1044"/>
                  </a:lnTo>
                  <a:close/>
                  <a:moveTo>
                    <a:pt x="69" y="929"/>
                  </a:moveTo>
                  <a:lnTo>
                    <a:pt x="462" y="929"/>
                  </a:lnTo>
                  <a:lnTo>
                    <a:pt x="462" y="969"/>
                  </a:lnTo>
                  <a:lnTo>
                    <a:pt x="69" y="969"/>
                  </a:lnTo>
                  <a:lnTo>
                    <a:pt x="69" y="929"/>
                  </a:lnTo>
                  <a:close/>
                  <a:moveTo>
                    <a:pt x="69" y="814"/>
                  </a:moveTo>
                  <a:lnTo>
                    <a:pt x="462" y="814"/>
                  </a:lnTo>
                  <a:lnTo>
                    <a:pt x="462" y="854"/>
                  </a:lnTo>
                  <a:lnTo>
                    <a:pt x="69" y="854"/>
                  </a:lnTo>
                  <a:lnTo>
                    <a:pt x="69" y="814"/>
                  </a:lnTo>
                  <a:close/>
                  <a:moveTo>
                    <a:pt x="69" y="698"/>
                  </a:moveTo>
                  <a:lnTo>
                    <a:pt x="462" y="698"/>
                  </a:lnTo>
                  <a:lnTo>
                    <a:pt x="462" y="739"/>
                  </a:lnTo>
                  <a:lnTo>
                    <a:pt x="69" y="739"/>
                  </a:lnTo>
                  <a:lnTo>
                    <a:pt x="69" y="698"/>
                  </a:lnTo>
                  <a:close/>
                  <a:moveTo>
                    <a:pt x="69" y="583"/>
                  </a:moveTo>
                  <a:lnTo>
                    <a:pt x="462" y="583"/>
                  </a:lnTo>
                  <a:lnTo>
                    <a:pt x="462" y="626"/>
                  </a:lnTo>
                  <a:lnTo>
                    <a:pt x="69" y="626"/>
                  </a:lnTo>
                  <a:lnTo>
                    <a:pt x="69" y="583"/>
                  </a:lnTo>
                  <a:close/>
                  <a:moveTo>
                    <a:pt x="69" y="468"/>
                  </a:moveTo>
                  <a:lnTo>
                    <a:pt x="462" y="468"/>
                  </a:lnTo>
                  <a:lnTo>
                    <a:pt x="462" y="511"/>
                  </a:lnTo>
                  <a:lnTo>
                    <a:pt x="69" y="511"/>
                  </a:lnTo>
                  <a:lnTo>
                    <a:pt x="69" y="4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49" name="iŝļïďe"/>
            <p:cNvSpPr/>
            <p:nvPr/>
          </p:nvSpPr>
          <p:spPr bwMode="auto">
            <a:xfrm>
              <a:off x="107951" y="3571875"/>
              <a:ext cx="844550" cy="2551113"/>
            </a:xfrm>
            <a:custGeom>
              <a:avLst/>
              <a:gdLst>
                <a:gd name="T0" fmla="*/ 0 w 532"/>
                <a:gd name="T1" fmla="*/ 314 h 1607"/>
                <a:gd name="T2" fmla="*/ 0 w 532"/>
                <a:gd name="T3" fmla="*/ 1607 h 1607"/>
                <a:gd name="T4" fmla="*/ 532 w 532"/>
                <a:gd name="T5" fmla="*/ 1607 h 1607"/>
                <a:gd name="T6" fmla="*/ 532 w 532"/>
                <a:gd name="T7" fmla="*/ 314 h 1607"/>
                <a:gd name="T8" fmla="*/ 347 w 532"/>
                <a:gd name="T9" fmla="*/ 314 h 1607"/>
                <a:gd name="T10" fmla="*/ 347 w 532"/>
                <a:gd name="T11" fmla="*/ 192 h 1607"/>
                <a:gd name="T12" fmla="*/ 242 w 532"/>
                <a:gd name="T13" fmla="*/ 192 h 1607"/>
                <a:gd name="T14" fmla="*/ 242 w 532"/>
                <a:gd name="T15" fmla="*/ 314 h 1607"/>
                <a:gd name="T16" fmla="*/ 163 w 532"/>
                <a:gd name="T17" fmla="*/ 314 h 1607"/>
                <a:gd name="T18" fmla="*/ 163 w 532"/>
                <a:gd name="T19" fmla="*/ 0 h 1607"/>
                <a:gd name="T20" fmla="*/ 55 w 532"/>
                <a:gd name="T21" fmla="*/ 0 h 1607"/>
                <a:gd name="T22" fmla="*/ 55 w 532"/>
                <a:gd name="T23" fmla="*/ 314 h 1607"/>
                <a:gd name="T24" fmla="*/ 0 w 532"/>
                <a:gd name="T25" fmla="*/ 314 h 1607"/>
                <a:gd name="T26" fmla="*/ 335 w 532"/>
                <a:gd name="T27" fmla="*/ 1226 h 1607"/>
                <a:gd name="T28" fmla="*/ 438 w 532"/>
                <a:gd name="T29" fmla="*/ 1226 h 1607"/>
                <a:gd name="T30" fmla="*/ 438 w 532"/>
                <a:gd name="T31" fmla="*/ 1329 h 1607"/>
                <a:gd name="T32" fmla="*/ 335 w 532"/>
                <a:gd name="T33" fmla="*/ 1329 h 1607"/>
                <a:gd name="T34" fmla="*/ 335 w 532"/>
                <a:gd name="T35" fmla="*/ 1226 h 1607"/>
                <a:gd name="T36" fmla="*/ 335 w 532"/>
                <a:gd name="T37" fmla="*/ 1034 h 1607"/>
                <a:gd name="T38" fmla="*/ 438 w 532"/>
                <a:gd name="T39" fmla="*/ 1034 h 1607"/>
                <a:gd name="T40" fmla="*/ 438 w 532"/>
                <a:gd name="T41" fmla="*/ 1137 h 1607"/>
                <a:gd name="T42" fmla="*/ 335 w 532"/>
                <a:gd name="T43" fmla="*/ 1137 h 1607"/>
                <a:gd name="T44" fmla="*/ 335 w 532"/>
                <a:gd name="T45" fmla="*/ 1034 h 1607"/>
                <a:gd name="T46" fmla="*/ 335 w 532"/>
                <a:gd name="T47" fmla="*/ 842 h 1607"/>
                <a:gd name="T48" fmla="*/ 438 w 532"/>
                <a:gd name="T49" fmla="*/ 842 h 1607"/>
                <a:gd name="T50" fmla="*/ 438 w 532"/>
                <a:gd name="T51" fmla="*/ 947 h 1607"/>
                <a:gd name="T52" fmla="*/ 335 w 532"/>
                <a:gd name="T53" fmla="*/ 947 h 1607"/>
                <a:gd name="T54" fmla="*/ 335 w 532"/>
                <a:gd name="T55" fmla="*/ 842 h 1607"/>
                <a:gd name="T56" fmla="*/ 335 w 532"/>
                <a:gd name="T57" fmla="*/ 652 h 1607"/>
                <a:gd name="T58" fmla="*/ 438 w 532"/>
                <a:gd name="T59" fmla="*/ 652 h 1607"/>
                <a:gd name="T60" fmla="*/ 438 w 532"/>
                <a:gd name="T61" fmla="*/ 755 h 1607"/>
                <a:gd name="T62" fmla="*/ 335 w 532"/>
                <a:gd name="T63" fmla="*/ 755 h 1607"/>
                <a:gd name="T64" fmla="*/ 335 w 532"/>
                <a:gd name="T65" fmla="*/ 652 h 1607"/>
                <a:gd name="T66" fmla="*/ 335 w 532"/>
                <a:gd name="T67" fmla="*/ 460 h 1607"/>
                <a:gd name="T68" fmla="*/ 438 w 532"/>
                <a:gd name="T69" fmla="*/ 460 h 1607"/>
                <a:gd name="T70" fmla="*/ 438 w 532"/>
                <a:gd name="T71" fmla="*/ 566 h 1607"/>
                <a:gd name="T72" fmla="*/ 335 w 532"/>
                <a:gd name="T73" fmla="*/ 566 h 1607"/>
                <a:gd name="T74" fmla="*/ 335 w 532"/>
                <a:gd name="T75" fmla="*/ 460 h 1607"/>
                <a:gd name="T76" fmla="*/ 93 w 532"/>
                <a:gd name="T77" fmla="*/ 1226 h 1607"/>
                <a:gd name="T78" fmla="*/ 196 w 532"/>
                <a:gd name="T79" fmla="*/ 1226 h 1607"/>
                <a:gd name="T80" fmla="*/ 196 w 532"/>
                <a:gd name="T81" fmla="*/ 1329 h 1607"/>
                <a:gd name="T82" fmla="*/ 93 w 532"/>
                <a:gd name="T83" fmla="*/ 1329 h 1607"/>
                <a:gd name="T84" fmla="*/ 93 w 532"/>
                <a:gd name="T85" fmla="*/ 1226 h 1607"/>
                <a:gd name="T86" fmla="*/ 93 w 532"/>
                <a:gd name="T87" fmla="*/ 1034 h 1607"/>
                <a:gd name="T88" fmla="*/ 196 w 532"/>
                <a:gd name="T89" fmla="*/ 1034 h 1607"/>
                <a:gd name="T90" fmla="*/ 196 w 532"/>
                <a:gd name="T91" fmla="*/ 1137 h 1607"/>
                <a:gd name="T92" fmla="*/ 93 w 532"/>
                <a:gd name="T93" fmla="*/ 1137 h 1607"/>
                <a:gd name="T94" fmla="*/ 93 w 532"/>
                <a:gd name="T95" fmla="*/ 1034 h 1607"/>
                <a:gd name="T96" fmla="*/ 93 w 532"/>
                <a:gd name="T97" fmla="*/ 842 h 1607"/>
                <a:gd name="T98" fmla="*/ 196 w 532"/>
                <a:gd name="T99" fmla="*/ 842 h 1607"/>
                <a:gd name="T100" fmla="*/ 196 w 532"/>
                <a:gd name="T101" fmla="*/ 947 h 1607"/>
                <a:gd name="T102" fmla="*/ 93 w 532"/>
                <a:gd name="T103" fmla="*/ 947 h 1607"/>
                <a:gd name="T104" fmla="*/ 93 w 532"/>
                <a:gd name="T105" fmla="*/ 842 h 1607"/>
                <a:gd name="T106" fmla="*/ 93 w 532"/>
                <a:gd name="T107" fmla="*/ 652 h 1607"/>
                <a:gd name="T108" fmla="*/ 196 w 532"/>
                <a:gd name="T109" fmla="*/ 652 h 1607"/>
                <a:gd name="T110" fmla="*/ 196 w 532"/>
                <a:gd name="T111" fmla="*/ 755 h 1607"/>
                <a:gd name="T112" fmla="*/ 93 w 532"/>
                <a:gd name="T113" fmla="*/ 755 h 1607"/>
                <a:gd name="T114" fmla="*/ 93 w 532"/>
                <a:gd name="T115" fmla="*/ 652 h 1607"/>
                <a:gd name="T116" fmla="*/ 93 w 532"/>
                <a:gd name="T117" fmla="*/ 460 h 1607"/>
                <a:gd name="T118" fmla="*/ 196 w 532"/>
                <a:gd name="T119" fmla="*/ 460 h 1607"/>
                <a:gd name="T120" fmla="*/ 196 w 532"/>
                <a:gd name="T121" fmla="*/ 566 h 1607"/>
                <a:gd name="T122" fmla="*/ 93 w 532"/>
                <a:gd name="T123" fmla="*/ 566 h 1607"/>
                <a:gd name="T124" fmla="*/ 93 w 532"/>
                <a:gd name="T125" fmla="*/ 46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2" h="1607">
                  <a:moveTo>
                    <a:pt x="0" y="314"/>
                  </a:moveTo>
                  <a:lnTo>
                    <a:pt x="0" y="1607"/>
                  </a:lnTo>
                  <a:lnTo>
                    <a:pt x="532" y="1607"/>
                  </a:lnTo>
                  <a:lnTo>
                    <a:pt x="532" y="314"/>
                  </a:lnTo>
                  <a:lnTo>
                    <a:pt x="347" y="314"/>
                  </a:lnTo>
                  <a:lnTo>
                    <a:pt x="347" y="192"/>
                  </a:lnTo>
                  <a:lnTo>
                    <a:pt x="242" y="192"/>
                  </a:lnTo>
                  <a:lnTo>
                    <a:pt x="242" y="314"/>
                  </a:lnTo>
                  <a:lnTo>
                    <a:pt x="163" y="314"/>
                  </a:lnTo>
                  <a:lnTo>
                    <a:pt x="163" y="0"/>
                  </a:lnTo>
                  <a:lnTo>
                    <a:pt x="55" y="0"/>
                  </a:lnTo>
                  <a:lnTo>
                    <a:pt x="55" y="314"/>
                  </a:lnTo>
                  <a:lnTo>
                    <a:pt x="0" y="314"/>
                  </a:lnTo>
                  <a:close/>
                  <a:moveTo>
                    <a:pt x="335" y="1226"/>
                  </a:moveTo>
                  <a:lnTo>
                    <a:pt x="438" y="1226"/>
                  </a:lnTo>
                  <a:lnTo>
                    <a:pt x="438" y="1329"/>
                  </a:lnTo>
                  <a:lnTo>
                    <a:pt x="335" y="1329"/>
                  </a:lnTo>
                  <a:lnTo>
                    <a:pt x="335" y="1226"/>
                  </a:lnTo>
                  <a:close/>
                  <a:moveTo>
                    <a:pt x="335" y="1034"/>
                  </a:moveTo>
                  <a:lnTo>
                    <a:pt x="438" y="1034"/>
                  </a:lnTo>
                  <a:lnTo>
                    <a:pt x="438" y="1137"/>
                  </a:lnTo>
                  <a:lnTo>
                    <a:pt x="335" y="1137"/>
                  </a:lnTo>
                  <a:lnTo>
                    <a:pt x="335" y="1034"/>
                  </a:lnTo>
                  <a:close/>
                  <a:moveTo>
                    <a:pt x="335" y="842"/>
                  </a:moveTo>
                  <a:lnTo>
                    <a:pt x="438" y="842"/>
                  </a:lnTo>
                  <a:lnTo>
                    <a:pt x="438" y="947"/>
                  </a:lnTo>
                  <a:lnTo>
                    <a:pt x="335" y="947"/>
                  </a:lnTo>
                  <a:lnTo>
                    <a:pt x="335" y="842"/>
                  </a:lnTo>
                  <a:close/>
                  <a:moveTo>
                    <a:pt x="335" y="652"/>
                  </a:moveTo>
                  <a:lnTo>
                    <a:pt x="438" y="652"/>
                  </a:lnTo>
                  <a:lnTo>
                    <a:pt x="438" y="755"/>
                  </a:lnTo>
                  <a:lnTo>
                    <a:pt x="335" y="755"/>
                  </a:lnTo>
                  <a:lnTo>
                    <a:pt x="335" y="652"/>
                  </a:lnTo>
                  <a:close/>
                  <a:moveTo>
                    <a:pt x="335" y="460"/>
                  </a:moveTo>
                  <a:lnTo>
                    <a:pt x="438" y="460"/>
                  </a:lnTo>
                  <a:lnTo>
                    <a:pt x="438" y="566"/>
                  </a:lnTo>
                  <a:lnTo>
                    <a:pt x="335" y="566"/>
                  </a:lnTo>
                  <a:lnTo>
                    <a:pt x="335" y="460"/>
                  </a:lnTo>
                  <a:close/>
                  <a:moveTo>
                    <a:pt x="93" y="1226"/>
                  </a:moveTo>
                  <a:lnTo>
                    <a:pt x="196" y="1226"/>
                  </a:lnTo>
                  <a:lnTo>
                    <a:pt x="196" y="1329"/>
                  </a:lnTo>
                  <a:lnTo>
                    <a:pt x="93" y="1329"/>
                  </a:lnTo>
                  <a:lnTo>
                    <a:pt x="93" y="1226"/>
                  </a:lnTo>
                  <a:close/>
                  <a:moveTo>
                    <a:pt x="93" y="1034"/>
                  </a:moveTo>
                  <a:lnTo>
                    <a:pt x="196" y="1034"/>
                  </a:lnTo>
                  <a:lnTo>
                    <a:pt x="196" y="1137"/>
                  </a:lnTo>
                  <a:lnTo>
                    <a:pt x="93" y="1137"/>
                  </a:lnTo>
                  <a:lnTo>
                    <a:pt x="93" y="1034"/>
                  </a:lnTo>
                  <a:close/>
                  <a:moveTo>
                    <a:pt x="93" y="842"/>
                  </a:moveTo>
                  <a:lnTo>
                    <a:pt x="196" y="842"/>
                  </a:lnTo>
                  <a:lnTo>
                    <a:pt x="196" y="947"/>
                  </a:lnTo>
                  <a:lnTo>
                    <a:pt x="93" y="947"/>
                  </a:lnTo>
                  <a:lnTo>
                    <a:pt x="93" y="842"/>
                  </a:lnTo>
                  <a:close/>
                  <a:moveTo>
                    <a:pt x="93" y="652"/>
                  </a:moveTo>
                  <a:lnTo>
                    <a:pt x="196" y="652"/>
                  </a:lnTo>
                  <a:lnTo>
                    <a:pt x="196" y="755"/>
                  </a:lnTo>
                  <a:lnTo>
                    <a:pt x="93" y="755"/>
                  </a:lnTo>
                  <a:lnTo>
                    <a:pt x="93" y="652"/>
                  </a:lnTo>
                  <a:close/>
                  <a:moveTo>
                    <a:pt x="93" y="460"/>
                  </a:moveTo>
                  <a:lnTo>
                    <a:pt x="196" y="460"/>
                  </a:lnTo>
                  <a:lnTo>
                    <a:pt x="196" y="566"/>
                  </a:lnTo>
                  <a:lnTo>
                    <a:pt x="93" y="566"/>
                  </a:lnTo>
                  <a:lnTo>
                    <a:pt x="93" y="4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0" name="işḻîdê"/>
            <p:cNvSpPr/>
            <p:nvPr/>
          </p:nvSpPr>
          <p:spPr bwMode="auto">
            <a:xfrm>
              <a:off x="3008313" y="2128838"/>
              <a:ext cx="844550" cy="3994150"/>
            </a:xfrm>
            <a:custGeom>
              <a:avLst/>
              <a:gdLst>
                <a:gd name="T0" fmla="*/ 0 w 532"/>
                <a:gd name="T1" fmla="*/ 463 h 2516"/>
                <a:gd name="T2" fmla="*/ 0 w 532"/>
                <a:gd name="T3" fmla="*/ 2516 h 2516"/>
                <a:gd name="T4" fmla="*/ 532 w 532"/>
                <a:gd name="T5" fmla="*/ 2516 h 2516"/>
                <a:gd name="T6" fmla="*/ 532 w 532"/>
                <a:gd name="T7" fmla="*/ 463 h 2516"/>
                <a:gd name="T8" fmla="*/ 258 w 532"/>
                <a:gd name="T9" fmla="*/ 0 h 2516"/>
                <a:gd name="T10" fmla="*/ 0 w 532"/>
                <a:gd name="T11" fmla="*/ 463 h 2516"/>
                <a:gd name="T12" fmla="*/ 371 w 532"/>
                <a:gd name="T13" fmla="*/ 1832 h 2516"/>
                <a:gd name="T14" fmla="*/ 443 w 532"/>
                <a:gd name="T15" fmla="*/ 1832 h 2516"/>
                <a:gd name="T16" fmla="*/ 443 w 532"/>
                <a:gd name="T17" fmla="*/ 2139 h 2516"/>
                <a:gd name="T18" fmla="*/ 371 w 532"/>
                <a:gd name="T19" fmla="*/ 2139 h 2516"/>
                <a:gd name="T20" fmla="*/ 371 w 532"/>
                <a:gd name="T21" fmla="*/ 1832 h 2516"/>
                <a:gd name="T22" fmla="*/ 371 w 532"/>
                <a:gd name="T23" fmla="*/ 1432 h 2516"/>
                <a:gd name="T24" fmla="*/ 443 w 532"/>
                <a:gd name="T25" fmla="*/ 1432 h 2516"/>
                <a:gd name="T26" fmla="*/ 443 w 532"/>
                <a:gd name="T27" fmla="*/ 1739 h 2516"/>
                <a:gd name="T28" fmla="*/ 371 w 532"/>
                <a:gd name="T29" fmla="*/ 1739 h 2516"/>
                <a:gd name="T30" fmla="*/ 371 w 532"/>
                <a:gd name="T31" fmla="*/ 1432 h 2516"/>
                <a:gd name="T32" fmla="*/ 371 w 532"/>
                <a:gd name="T33" fmla="*/ 630 h 2516"/>
                <a:gd name="T34" fmla="*/ 443 w 532"/>
                <a:gd name="T35" fmla="*/ 630 h 2516"/>
                <a:gd name="T36" fmla="*/ 443 w 532"/>
                <a:gd name="T37" fmla="*/ 938 h 2516"/>
                <a:gd name="T38" fmla="*/ 371 w 532"/>
                <a:gd name="T39" fmla="*/ 938 h 2516"/>
                <a:gd name="T40" fmla="*/ 371 w 532"/>
                <a:gd name="T41" fmla="*/ 630 h 2516"/>
                <a:gd name="T42" fmla="*/ 230 w 532"/>
                <a:gd name="T43" fmla="*/ 1832 h 2516"/>
                <a:gd name="T44" fmla="*/ 302 w 532"/>
                <a:gd name="T45" fmla="*/ 1832 h 2516"/>
                <a:gd name="T46" fmla="*/ 302 w 532"/>
                <a:gd name="T47" fmla="*/ 2139 h 2516"/>
                <a:gd name="T48" fmla="*/ 230 w 532"/>
                <a:gd name="T49" fmla="*/ 2139 h 2516"/>
                <a:gd name="T50" fmla="*/ 230 w 532"/>
                <a:gd name="T51" fmla="*/ 1832 h 2516"/>
                <a:gd name="T52" fmla="*/ 230 w 532"/>
                <a:gd name="T53" fmla="*/ 1432 h 2516"/>
                <a:gd name="T54" fmla="*/ 302 w 532"/>
                <a:gd name="T55" fmla="*/ 1432 h 2516"/>
                <a:gd name="T56" fmla="*/ 302 w 532"/>
                <a:gd name="T57" fmla="*/ 1739 h 2516"/>
                <a:gd name="T58" fmla="*/ 230 w 532"/>
                <a:gd name="T59" fmla="*/ 1739 h 2516"/>
                <a:gd name="T60" fmla="*/ 230 w 532"/>
                <a:gd name="T61" fmla="*/ 1432 h 2516"/>
                <a:gd name="T62" fmla="*/ 230 w 532"/>
                <a:gd name="T63" fmla="*/ 1031 h 2516"/>
                <a:gd name="T64" fmla="*/ 302 w 532"/>
                <a:gd name="T65" fmla="*/ 1031 h 2516"/>
                <a:gd name="T66" fmla="*/ 302 w 532"/>
                <a:gd name="T67" fmla="*/ 1338 h 2516"/>
                <a:gd name="T68" fmla="*/ 230 w 532"/>
                <a:gd name="T69" fmla="*/ 1338 h 2516"/>
                <a:gd name="T70" fmla="*/ 230 w 532"/>
                <a:gd name="T71" fmla="*/ 1031 h 2516"/>
                <a:gd name="T72" fmla="*/ 230 w 532"/>
                <a:gd name="T73" fmla="*/ 630 h 2516"/>
                <a:gd name="T74" fmla="*/ 302 w 532"/>
                <a:gd name="T75" fmla="*/ 630 h 2516"/>
                <a:gd name="T76" fmla="*/ 302 w 532"/>
                <a:gd name="T77" fmla="*/ 938 h 2516"/>
                <a:gd name="T78" fmla="*/ 230 w 532"/>
                <a:gd name="T79" fmla="*/ 938 h 2516"/>
                <a:gd name="T80" fmla="*/ 230 w 532"/>
                <a:gd name="T81" fmla="*/ 630 h 2516"/>
                <a:gd name="T82" fmla="*/ 88 w 532"/>
                <a:gd name="T83" fmla="*/ 1832 h 2516"/>
                <a:gd name="T84" fmla="*/ 160 w 532"/>
                <a:gd name="T85" fmla="*/ 1832 h 2516"/>
                <a:gd name="T86" fmla="*/ 160 w 532"/>
                <a:gd name="T87" fmla="*/ 2139 h 2516"/>
                <a:gd name="T88" fmla="*/ 88 w 532"/>
                <a:gd name="T89" fmla="*/ 2139 h 2516"/>
                <a:gd name="T90" fmla="*/ 88 w 532"/>
                <a:gd name="T91" fmla="*/ 1832 h 2516"/>
                <a:gd name="T92" fmla="*/ 88 w 532"/>
                <a:gd name="T93" fmla="*/ 1031 h 2516"/>
                <a:gd name="T94" fmla="*/ 160 w 532"/>
                <a:gd name="T95" fmla="*/ 1031 h 2516"/>
                <a:gd name="T96" fmla="*/ 160 w 532"/>
                <a:gd name="T97" fmla="*/ 1338 h 2516"/>
                <a:gd name="T98" fmla="*/ 88 w 532"/>
                <a:gd name="T99" fmla="*/ 1338 h 2516"/>
                <a:gd name="T100" fmla="*/ 88 w 532"/>
                <a:gd name="T101" fmla="*/ 1031 h 2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32" h="2516">
                  <a:moveTo>
                    <a:pt x="0" y="463"/>
                  </a:moveTo>
                  <a:lnTo>
                    <a:pt x="0" y="2516"/>
                  </a:lnTo>
                  <a:lnTo>
                    <a:pt x="532" y="2516"/>
                  </a:lnTo>
                  <a:lnTo>
                    <a:pt x="532" y="463"/>
                  </a:lnTo>
                  <a:lnTo>
                    <a:pt x="258" y="0"/>
                  </a:lnTo>
                  <a:lnTo>
                    <a:pt x="0" y="463"/>
                  </a:lnTo>
                  <a:close/>
                  <a:moveTo>
                    <a:pt x="371" y="1832"/>
                  </a:moveTo>
                  <a:lnTo>
                    <a:pt x="443" y="1832"/>
                  </a:lnTo>
                  <a:lnTo>
                    <a:pt x="443" y="2139"/>
                  </a:lnTo>
                  <a:lnTo>
                    <a:pt x="371" y="2139"/>
                  </a:lnTo>
                  <a:lnTo>
                    <a:pt x="371" y="1832"/>
                  </a:lnTo>
                  <a:close/>
                  <a:moveTo>
                    <a:pt x="371" y="1432"/>
                  </a:moveTo>
                  <a:lnTo>
                    <a:pt x="443" y="1432"/>
                  </a:lnTo>
                  <a:lnTo>
                    <a:pt x="443" y="1739"/>
                  </a:lnTo>
                  <a:lnTo>
                    <a:pt x="371" y="1739"/>
                  </a:lnTo>
                  <a:lnTo>
                    <a:pt x="371" y="1432"/>
                  </a:lnTo>
                  <a:close/>
                  <a:moveTo>
                    <a:pt x="371" y="630"/>
                  </a:moveTo>
                  <a:lnTo>
                    <a:pt x="443" y="630"/>
                  </a:lnTo>
                  <a:lnTo>
                    <a:pt x="443" y="938"/>
                  </a:lnTo>
                  <a:lnTo>
                    <a:pt x="371" y="938"/>
                  </a:lnTo>
                  <a:lnTo>
                    <a:pt x="371" y="630"/>
                  </a:lnTo>
                  <a:close/>
                  <a:moveTo>
                    <a:pt x="230" y="1832"/>
                  </a:moveTo>
                  <a:lnTo>
                    <a:pt x="302" y="1832"/>
                  </a:lnTo>
                  <a:lnTo>
                    <a:pt x="302" y="2139"/>
                  </a:lnTo>
                  <a:lnTo>
                    <a:pt x="230" y="2139"/>
                  </a:lnTo>
                  <a:lnTo>
                    <a:pt x="230" y="1832"/>
                  </a:lnTo>
                  <a:close/>
                  <a:moveTo>
                    <a:pt x="230" y="1432"/>
                  </a:moveTo>
                  <a:lnTo>
                    <a:pt x="302" y="1432"/>
                  </a:lnTo>
                  <a:lnTo>
                    <a:pt x="302" y="1739"/>
                  </a:lnTo>
                  <a:lnTo>
                    <a:pt x="230" y="1739"/>
                  </a:lnTo>
                  <a:lnTo>
                    <a:pt x="230" y="1432"/>
                  </a:lnTo>
                  <a:close/>
                  <a:moveTo>
                    <a:pt x="230" y="1031"/>
                  </a:moveTo>
                  <a:lnTo>
                    <a:pt x="302" y="1031"/>
                  </a:lnTo>
                  <a:lnTo>
                    <a:pt x="302" y="1338"/>
                  </a:lnTo>
                  <a:lnTo>
                    <a:pt x="230" y="1338"/>
                  </a:lnTo>
                  <a:lnTo>
                    <a:pt x="230" y="1031"/>
                  </a:lnTo>
                  <a:close/>
                  <a:moveTo>
                    <a:pt x="230" y="630"/>
                  </a:moveTo>
                  <a:lnTo>
                    <a:pt x="302" y="630"/>
                  </a:lnTo>
                  <a:lnTo>
                    <a:pt x="302" y="938"/>
                  </a:lnTo>
                  <a:lnTo>
                    <a:pt x="230" y="938"/>
                  </a:lnTo>
                  <a:lnTo>
                    <a:pt x="230" y="630"/>
                  </a:lnTo>
                  <a:close/>
                  <a:moveTo>
                    <a:pt x="88" y="1832"/>
                  </a:moveTo>
                  <a:lnTo>
                    <a:pt x="160" y="1832"/>
                  </a:lnTo>
                  <a:lnTo>
                    <a:pt x="160" y="2139"/>
                  </a:lnTo>
                  <a:lnTo>
                    <a:pt x="88" y="2139"/>
                  </a:lnTo>
                  <a:lnTo>
                    <a:pt x="88" y="1832"/>
                  </a:lnTo>
                  <a:close/>
                  <a:moveTo>
                    <a:pt x="88" y="1031"/>
                  </a:moveTo>
                  <a:lnTo>
                    <a:pt x="160" y="1031"/>
                  </a:lnTo>
                  <a:lnTo>
                    <a:pt x="160" y="1338"/>
                  </a:lnTo>
                  <a:lnTo>
                    <a:pt x="88" y="1338"/>
                  </a:lnTo>
                  <a:lnTo>
                    <a:pt x="88" y="10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1" name="îṡḻïḍê"/>
            <p:cNvSpPr/>
            <p:nvPr/>
          </p:nvSpPr>
          <p:spPr bwMode="auto">
            <a:xfrm>
              <a:off x="2041526" y="3784600"/>
              <a:ext cx="844550" cy="2338388"/>
            </a:xfrm>
            <a:custGeom>
              <a:avLst/>
              <a:gdLst>
                <a:gd name="T0" fmla="*/ 0 w 532"/>
                <a:gd name="T1" fmla="*/ 384 h 1473"/>
                <a:gd name="T2" fmla="*/ 0 w 532"/>
                <a:gd name="T3" fmla="*/ 1473 h 1473"/>
                <a:gd name="T4" fmla="*/ 532 w 532"/>
                <a:gd name="T5" fmla="*/ 1473 h 1473"/>
                <a:gd name="T6" fmla="*/ 532 w 532"/>
                <a:gd name="T7" fmla="*/ 384 h 1473"/>
                <a:gd name="T8" fmla="*/ 465 w 532"/>
                <a:gd name="T9" fmla="*/ 384 h 1473"/>
                <a:gd name="T10" fmla="*/ 465 w 532"/>
                <a:gd name="T11" fmla="*/ 283 h 1473"/>
                <a:gd name="T12" fmla="*/ 388 w 532"/>
                <a:gd name="T13" fmla="*/ 283 h 1473"/>
                <a:gd name="T14" fmla="*/ 388 w 532"/>
                <a:gd name="T15" fmla="*/ 0 h 1473"/>
                <a:gd name="T16" fmla="*/ 143 w 532"/>
                <a:gd name="T17" fmla="*/ 0 h 1473"/>
                <a:gd name="T18" fmla="*/ 143 w 532"/>
                <a:gd name="T19" fmla="*/ 283 h 1473"/>
                <a:gd name="T20" fmla="*/ 67 w 532"/>
                <a:gd name="T21" fmla="*/ 283 h 1473"/>
                <a:gd name="T22" fmla="*/ 67 w 532"/>
                <a:gd name="T23" fmla="*/ 384 h 1473"/>
                <a:gd name="T24" fmla="*/ 0 w 532"/>
                <a:gd name="T25" fmla="*/ 384 h 1473"/>
                <a:gd name="T26" fmla="*/ 362 w 532"/>
                <a:gd name="T27" fmla="*/ 1029 h 1473"/>
                <a:gd name="T28" fmla="*/ 457 w 532"/>
                <a:gd name="T29" fmla="*/ 1029 h 1473"/>
                <a:gd name="T30" fmla="*/ 457 w 532"/>
                <a:gd name="T31" fmla="*/ 1137 h 1473"/>
                <a:gd name="T32" fmla="*/ 362 w 532"/>
                <a:gd name="T33" fmla="*/ 1137 h 1473"/>
                <a:gd name="T34" fmla="*/ 362 w 532"/>
                <a:gd name="T35" fmla="*/ 1029 h 1473"/>
                <a:gd name="T36" fmla="*/ 362 w 532"/>
                <a:gd name="T37" fmla="*/ 681 h 1473"/>
                <a:gd name="T38" fmla="*/ 457 w 532"/>
                <a:gd name="T39" fmla="*/ 681 h 1473"/>
                <a:gd name="T40" fmla="*/ 457 w 532"/>
                <a:gd name="T41" fmla="*/ 792 h 1473"/>
                <a:gd name="T42" fmla="*/ 362 w 532"/>
                <a:gd name="T43" fmla="*/ 792 h 1473"/>
                <a:gd name="T44" fmla="*/ 362 w 532"/>
                <a:gd name="T45" fmla="*/ 681 h 1473"/>
                <a:gd name="T46" fmla="*/ 362 w 532"/>
                <a:gd name="T47" fmla="*/ 509 h 1473"/>
                <a:gd name="T48" fmla="*/ 457 w 532"/>
                <a:gd name="T49" fmla="*/ 509 h 1473"/>
                <a:gd name="T50" fmla="*/ 457 w 532"/>
                <a:gd name="T51" fmla="*/ 619 h 1473"/>
                <a:gd name="T52" fmla="*/ 362 w 532"/>
                <a:gd name="T53" fmla="*/ 619 h 1473"/>
                <a:gd name="T54" fmla="*/ 362 w 532"/>
                <a:gd name="T55" fmla="*/ 509 h 1473"/>
                <a:gd name="T56" fmla="*/ 218 w 532"/>
                <a:gd name="T57" fmla="*/ 854 h 1473"/>
                <a:gd name="T58" fmla="*/ 314 w 532"/>
                <a:gd name="T59" fmla="*/ 854 h 1473"/>
                <a:gd name="T60" fmla="*/ 314 w 532"/>
                <a:gd name="T61" fmla="*/ 964 h 1473"/>
                <a:gd name="T62" fmla="*/ 218 w 532"/>
                <a:gd name="T63" fmla="*/ 964 h 1473"/>
                <a:gd name="T64" fmla="*/ 218 w 532"/>
                <a:gd name="T65" fmla="*/ 854 h 1473"/>
                <a:gd name="T66" fmla="*/ 218 w 532"/>
                <a:gd name="T67" fmla="*/ 681 h 1473"/>
                <a:gd name="T68" fmla="*/ 314 w 532"/>
                <a:gd name="T69" fmla="*/ 681 h 1473"/>
                <a:gd name="T70" fmla="*/ 314 w 532"/>
                <a:gd name="T71" fmla="*/ 792 h 1473"/>
                <a:gd name="T72" fmla="*/ 218 w 532"/>
                <a:gd name="T73" fmla="*/ 792 h 1473"/>
                <a:gd name="T74" fmla="*/ 218 w 532"/>
                <a:gd name="T75" fmla="*/ 681 h 1473"/>
                <a:gd name="T76" fmla="*/ 218 w 532"/>
                <a:gd name="T77" fmla="*/ 509 h 1473"/>
                <a:gd name="T78" fmla="*/ 314 w 532"/>
                <a:gd name="T79" fmla="*/ 509 h 1473"/>
                <a:gd name="T80" fmla="*/ 314 w 532"/>
                <a:gd name="T81" fmla="*/ 619 h 1473"/>
                <a:gd name="T82" fmla="*/ 218 w 532"/>
                <a:gd name="T83" fmla="*/ 619 h 1473"/>
                <a:gd name="T84" fmla="*/ 218 w 532"/>
                <a:gd name="T85" fmla="*/ 509 h 1473"/>
                <a:gd name="T86" fmla="*/ 74 w 532"/>
                <a:gd name="T87" fmla="*/ 1029 h 1473"/>
                <a:gd name="T88" fmla="*/ 170 w 532"/>
                <a:gd name="T89" fmla="*/ 1029 h 1473"/>
                <a:gd name="T90" fmla="*/ 170 w 532"/>
                <a:gd name="T91" fmla="*/ 1137 h 1473"/>
                <a:gd name="T92" fmla="*/ 74 w 532"/>
                <a:gd name="T93" fmla="*/ 1137 h 1473"/>
                <a:gd name="T94" fmla="*/ 74 w 532"/>
                <a:gd name="T95" fmla="*/ 1029 h 1473"/>
                <a:gd name="T96" fmla="*/ 74 w 532"/>
                <a:gd name="T97" fmla="*/ 854 h 1473"/>
                <a:gd name="T98" fmla="*/ 170 w 532"/>
                <a:gd name="T99" fmla="*/ 854 h 1473"/>
                <a:gd name="T100" fmla="*/ 170 w 532"/>
                <a:gd name="T101" fmla="*/ 964 h 1473"/>
                <a:gd name="T102" fmla="*/ 74 w 532"/>
                <a:gd name="T103" fmla="*/ 964 h 1473"/>
                <a:gd name="T104" fmla="*/ 74 w 532"/>
                <a:gd name="T105" fmla="*/ 854 h 1473"/>
                <a:gd name="T106" fmla="*/ 74 w 532"/>
                <a:gd name="T107" fmla="*/ 681 h 1473"/>
                <a:gd name="T108" fmla="*/ 170 w 532"/>
                <a:gd name="T109" fmla="*/ 681 h 1473"/>
                <a:gd name="T110" fmla="*/ 170 w 532"/>
                <a:gd name="T111" fmla="*/ 792 h 1473"/>
                <a:gd name="T112" fmla="*/ 74 w 532"/>
                <a:gd name="T113" fmla="*/ 792 h 1473"/>
                <a:gd name="T114" fmla="*/ 74 w 532"/>
                <a:gd name="T115" fmla="*/ 681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2" h="1473">
                  <a:moveTo>
                    <a:pt x="0" y="384"/>
                  </a:moveTo>
                  <a:lnTo>
                    <a:pt x="0" y="1473"/>
                  </a:lnTo>
                  <a:lnTo>
                    <a:pt x="532" y="1473"/>
                  </a:lnTo>
                  <a:lnTo>
                    <a:pt x="532" y="384"/>
                  </a:lnTo>
                  <a:lnTo>
                    <a:pt x="465" y="384"/>
                  </a:lnTo>
                  <a:lnTo>
                    <a:pt x="465" y="283"/>
                  </a:lnTo>
                  <a:lnTo>
                    <a:pt x="388" y="283"/>
                  </a:lnTo>
                  <a:lnTo>
                    <a:pt x="388" y="0"/>
                  </a:lnTo>
                  <a:lnTo>
                    <a:pt x="143" y="0"/>
                  </a:lnTo>
                  <a:lnTo>
                    <a:pt x="143" y="283"/>
                  </a:lnTo>
                  <a:lnTo>
                    <a:pt x="67" y="283"/>
                  </a:lnTo>
                  <a:lnTo>
                    <a:pt x="67" y="384"/>
                  </a:lnTo>
                  <a:lnTo>
                    <a:pt x="0" y="384"/>
                  </a:lnTo>
                  <a:close/>
                  <a:moveTo>
                    <a:pt x="362" y="1029"/>
                  </a:moveTo>
                  <a:lnTo>
                    <a:pt x="457" y="1029"/>
                  </a:lnTo>
                  <a:lnTo>
                    <a:pt x="457" y="1137"/>
                  </a:lnTo>
                  <a:lnTo>
                    <a:pt x="362" y="1137"/>
                  </a:lnTo>
                  <a:lnTo>
                    <a:pt x="362" y="1029"/>
                  </a:lnTo>
                  <a:close/>
                  <a:moveTo>
                    <a:pt x="362" y="681"/>
                  </a:moveTo>
                  <a:lnTo>
                    <a:pt x="457" y="681"/>
                  </a:lnTo>
                  <a:lnTo>
                    <a:pt x="457" y="792"/>
                  </a:lnTo>
                  <a:lnTo>
                    <a:pt x="362" y="792"/>
                  </a:lnTo>
                  <a:lnTo>
                    <a:pt x="362" y="681"/>
                  </a:lnTo>
                  <a:close/>
                  <a:moveTo>
                    <a:pt x="362" y="509"/>
                  </a:moveTo>
                  <a:lnTo>
                    <a:pt x="457" y="509"/>
                  </a:lnTo>
                  <a:lnTo>
                    <a:pt x="457" y="619"/>
                  </a:lnTo>
                  <a:lnTo>
                    <a:pt x="362" y="619"/>
                  </a:lnTo>
                  <a:lnTo>
                    <a:pt x="362" y="509"/>
                  </a:lnTo>
                  <a:close/>
                  <a:moveTo>
                    <a:pt x="218" y="854"/>
                  </a:moveTo>
                  <a:lnTo>
                    <a:pt x="314" y="854"/>
                  </a:lnTo>
                  <a:lnTo>
                    <a:pt x="314" y="964"/>
                  </a:lnTo>
                  <a:lnTo>
                    <a:pt x="218" y="964"/>
                  </a:lnTo>
                  <a:lnTo>
                    <a:pt x="218" y="854"/>
                  </a:lnTo>
                  <a:close/>
                  <a:moveTo>
                    <a:pt x="218" y="681"/>
                  </a:moveTo>
                  <a:lnTo>
                    <a:pt x="314" y="681"/>
                  </a:lnTo>
                  <a:lnTo>
                    <a:pt x="314" y="792"/>
                  </a:lnTo>
                  <a:lnTo>
                    <a:pt x="218" y="792"/>
                  </a:lnTo>
                  <a:lnTo>
                    <a:pt x="218" y="681"/>
                  </a:lnTo>
                  <a:close/>
                  <a:moveTo>
                    <a:pt x="218" y="509"/>
                  </a:moveTo>
                  <a:lnTo>
                    <a:pt x="314" y="509"/>
                  </a:lnTo>
                  <a:lnTo>
                    <a:pt x="314" y="619"/>
                  </a:lnTo>
                  <a:lnTo>
                    <a:pt x="218" y="619"/>
                  </a:lnTo>
                  <a:lnTo>
                    <a:pt x="218" y="509"/>
                  </a:lnTo>
                  <a:close/>
                  <a:moveTo>
                    <a:pt x="74" y="1029"/>
                  </a:moveTo>
                  <a:lnTo>
                    <a:pt x="170" y="1029"/>
                  </a:lnTo>
                  <a:lnTo>
                    <a:pt x="170" y="1137"/>
                  </a:lnTo>
                  <a:lnTo>
                    <a:pt x="74" y="1137"/>
                  </a:lnTo>
                  <a:lnTo>
                    <a:pt x="74" y="1029"/>
                  </a:lnTo>
                  <a:close/>
                  <a:moveTo>
                    <a:pt x="74" y="854"/>
                  </a:moveTo>
                  <a:lnTo>
                    <a:pt x="170" y="854"/>
                  </a:lnTo>
                  <a:lnTo>
                    <a:pt x="170" y="964"/>
                  </a:lnTo>
                  <a:lnTo>
                    <a:pt x="74" y="964"/>
                  </a:lnTo>
                  <a:lnTo>
                    <a:pt x="74" y="854"/>
                  </a:lnTo>
                  <a:close/>
                  <a:moveTo>
                    <a:pt x="74" y="681"/>
                  </a:moveTo>
                  <a:lnTo>
                    <a:pt x="170" y="681"/>
                  </a:lnTo>
                  <a:lnTo>
                    <a:pt x="170" y="792"/>
                  </a:lnTo>
                  <a:lnTo>
                    <a:pt x="74" y="792"/>
                  </a:lnTo>
                  <a:lnTo>
                    <a:pt x="74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2" name="iṧlïḋe"/>
            <p:cNvSpPr/>
            <p:nvPr/>
          </p:nvSpPr>
          <p:spPr bwMode="auto">
            <a:xfrm>
              <a:off x="4940301" y="3128963"/>
              <a:ext cx="846138" cy="2994025"/>
            </a:xfrm>
            <a:custGeom>
              <a:avLst/>
              <a:gdLst>
                <a:gd name="T0" fmla="*/ 0 w 533"/>
                <a:gd name="T1" fmla="*/ 1886 h 1886"/>
                <a:gd name="T2" fmla="*/ 533 w 533"/>
                <a:gd name="T3" fmla="*/ 92 h 1886"/>
                <a:gd name="T4" fmla="*/ 487 w 533"/>
                <a:gd name="T5" fmla="*/ 0 h 1886"/>
                <a:gd name="T6" fmla="*/ 202 w 533"/>
                <a:gd name="T7" fmla="*/ 92 h 1886"/>
                <a:gd name="T8" fmla="*/ 310 w 533"/>
                <a:gd name="T9" fmla="*/ 1466 h 1886"/>
                <a:gd name="T10" fmla="*/ 456 w 533"/>
                <a:gd name="T11" fmla="*/ 1517 h 1886"/>
                <a:gd name="T12" fmla="*/ 310 w 533"/>
                <a:gd name="T13" fmla="*/ 1466 h 1886"/>
                <a:gd name="T14" fmla="*/ 456 w 533"/>
                <a:gd name="T15" fmla="*/ 1346 h 1886"/>
                <a:gd name="T16" fmla="*/ 310 w 533"/>
                <a:gd name="T17" fmla="*/ 1397 h 1886"/>
                <a:gd name="T18" fmla="*/ 310 w 533"/>
                <a:gd name="T19" fmla="*/ 1226 h 1886"/>
                <a:gd name="T20" fmla="*/ 456 w 533"/>
                <a:gd name="T21" fmla="*/ 1277 h 1886"/>
                <a:gd name="T22" fmla="*/ 310 w 533"/>
                <a:gd name="T23" fmla="*/ 1226 h 1886"/>
                <a:gd name="T24" fmla="*/ 456 w 533"/>
                <a:gd name="T25" fmla="*/ 1106 h 1886"/>
                <a:gd name="T26" fmla="*/ 310 w 533"/>
                <a:gd name="T27" fmla="*/ 1157 h 1886"/>
                <a:gd name="T28" fmla="*/ 310 w 533"/>
                <a:gd name="T29" fmla="*/ 866 h 1886"/>
                <a:gd name="T30" fmla="*/ 456 w 533"/>
                <a:gd name="T31" fmla="*/ 917 h 1886"/>
                <a:gd name="T32" fmla="*/ 310 w 533"/>
                <a:gd name="T33" fmla="*/ 866 h 1886"/>
                <a:gd name="T34" fmla="*/ 456 w 533"/>
                <a:gd name="T35" fmla="*/ 747 h 1886"/>
                <a:gd name="T36" fmla="*/ 310 w 533"/>
                <a:gd name="T37" fmla="*/ 797 h 1886"/>
                <a:gd name="T38" fmla="*/ 310 w 533"/>
                <a:gd name="T39" fmla="*/ 627 h 1886"/>
                <a:gd name="T40" fmla="*/ 456 w 533"/>
                <a:gd name="T41" fmla="*/ 677 h 1886"/>
                <a:gd name="T42" fmla="*/ 310 w 533"/>
                <a:gd name="T43" fmla="*/ 627 h 1886"/>
                <a:gd name="T44" fmla="*/ 456 w 533"/>
                <a:gd name="T45" fmla="*/ 507 h 1886"/>
                <a:gd name="T46" fmla="*/ 310 w 533"/>
                <a:gd name="T47" fmla="*/ 557 h 1886"/>
                <a:gd name="T48" fmla="*/ 310 w 533"/>
                <a:gd name="T49" fmla="*/ 267 h 1886"/>
                <a:gd name="T50" fmla="*/ 456 w 533"/>
                <a:gd name="T51" fmla="*/ 317 h 1886"/>
                <a:gd name="T52" fmla="*/ 310 w 533"/>
                <a:gd name="T53" fmla="*/ 267 h 1886"/>
                <a:gd name="T54" fmla="*/ 223 w 533"/>
                <a:gd name="T55" fmla="*/ 1586 h 1886"/>
                <a:gd name="T56" fmla="*/ 77 w 533"/>
                <a:gd name="T57" fmla="*/ 1637 h 1886"/>
                <a:gd name="T58" fmla="*/ 77 w 533"/>
                <a:gd name="T59" fmla="*/ 1466 h 1886"/>
                <a:gd name="T60" fmla="*/ 223 w 533"/>
                <a:gd name="T61" fmla="*/ 1517 h 1886"/>
                <a:gd name="T62" fmla="*/ 77 w 533"/>
                <a:gd name="T63" fmla="*/ 1466 h 1886"/>
                <a:gd name="T64" fmla="*/ 223 w 533"/>
                <a:gd name="T65" fmla="*/ 1226 h 1886"/>
                <a:gd name="T66" fmla="*/ 77 w 533"/>
                <a:gd name="T67" fmla="*/ 1277 h 1886"/>
                <a:gd name="T68" fmla="*/ 77 w 533"/>
                <a:gd name="T69" fmla="*/ 986 h 1886"/>
                <a:gd name="T70" fmla="*/ 223 w 533"/>
                <a:gd name="T71" fmla="*/ 1037 h 1886"/>
                <a:gd name="T72" fmla="*/ 77 w 533"/>
                <a:gd name="T73" fmla="*/ 986 h 1886"/>
                <a:gd name="T74" fmla="*/ 223 w 533"/>
                <a:gd name="T75" fmla="*/ 866 h 1886"/>
                <a:gd name="T76" fmla="*/ 77 w 533"/>
                <a:gd name="T77" fmla="*/ 917 h 1886"/>
                <a:gd name="T78" fmla="*/ 77 w 533"/>
                <a:gd name="T79" fmla="*/ 627 h 1886"/>
                <a:gd name="T80" fmla="*/ 223 w 533"/>
                <a:gd name="T81" fmla="*/ 677 h 1886"/>
                <a:gd name="T82" fmla="*/ 77 w 533"/>
                <a:gd name="T83" fmla="*/ 627 h 1886"/>
                <a:gd name="T84" fmla="*/ 223 w 533"/>
                <a:gd name="T85" fmla="*/ 387 h 1886"/>
                <a:gd name="T86" fmla="*/ 77 w 533"/>
                <a:gd name="T87" fmla="*/ 437 h 1886"/>
                <a:gd name="T88" fmla="*/ 77 w 533"/>
                <a:gd name="T89" fmla="*/ 267 h 1886"/>
                <a:gd name="T90" fmla="*/ 223 w 533"/>
                <a:gd name="T91" fmla="*/ 317 h 1886"/>
                <a:gd name="T92" fmla="*/ 77 w 533"/>
                <a:gd name="T93" fmla="*/ 267 h 1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3" h="1886">
                  <a:moveTo>
                    <a:pt x="0" y="92"/>
                  </a:moveTo>
                  <a:lnTo>
                    <a:pt x="0" y="1886"/>
                  </a:lnTo>
                  <a:lnTo>
                    <a:pt x="533" y="1886"/>
                  </a:lnTo>
                  <a:lnTo>
                    <a:pt x="533" y="92"/>
                  </a:lnTo>
                  <a:lnTo>
                    <a:pt x="487" y="92"/>
                  </a:lnTo>
                  <a:lnTo>
                    <a:pt x="487" y="0"/>
                  </a:lnTo>
                  <a:lnTo>
                    <a:pt x="202" y="0"/>
                  </a:lnTo>
                  <a:lnTo>
                    <a:pt x="202" y="92"/>
                  </a:lnTo>
                  <a:lnTo>
                    <a:pt x="0" y="92"/>
                  </a:lnTo>
                  <a:close/>
                  <a:moveTo>
                    <a:pt x="310" y="1466"/>
                  </a:moveTo>
                  <a:lnTo>
                    <a:pt x="456" y="1466"/>
                  </a:lnTo>
                  <a:lnTo>
                    <a:pt x="456" y="1517"/>
                  </a:lnTo>
                  <a:lnTo>
                    <a:pt x="310" y="1517"/>
                  </a:lnTo>
                  <a:lnTo>
                    <a:pt x="310" y="1466"/>
                  </a:lnTo>
                  <a:close/>
                  <a:moveTo>
                    <a:pt x="310" y="1346"/>
                  </a:moveTo>
                  <a:lnTo>
                    <a:pt x="456" y="1346"/>
                  </a:lnTo>
                  <a:lnTo>
                    <a:pt x="456" y="1397"/>
                  </a:lnTo>
                  <a:lnTo>
                    <a:pt x="310" y="1397"/>
                  </a:lnTo>
                  <a:lnTo>
                    <a:pt x="310" y="1346"/>
                  </a:lnTo>
                  <a:close/>
                  <a:moveTo>
                    <a:pt x="310" y="1226"/>
                  </a:moveTo>
                  <a:lnTo>
                    <a:pt x="456" y="1226"/>
                  </a:lnTo>
                  <a:lnTo>
                    <a:pt x="456" y="1277"/>
                  </a:lnTo>
                  <a:lnTo>
                    <a:pt x="310" y="1277"/>
                  </a:lnTo>
                  <a:lnTo>
                    <a:pt x="310" y="1226"/>
                  </a:lnTo>
                  <a:close/>
                  <a:moveTo>
                    <a:pt x="310" y="1106"/>
                  </a:moveTo>
                  <a:lnTo>
                    <a:pt x="456" y="1106"/>
                  </a:lnTo>
                  <a:lnTo>
                    <a:pt x="456" y="1157"/>
                  </a:lnTo>
                  <a:lnTo>
                    <a:pt x="310" y="1157"/>
                  </a:lnTo>
                  <a:lnTo>
                    <a:pt x="310" y="1106"/>
                  </a:lnTo>
                  <a:close/>
                  <a:moveTo>
                    <a:pt x="310" y="866"/>
                  </a:moveTo>
                  <a:lnTo>
                    <a:pt x="456" y="866"/>
                  </a:lnTo>
                  <a:lnTo>
                    <a:pt x="456" y="917"/>
                  </a:lnTo>
                  <a:lnTo>
                    <a:pt x="310" y="917"/>
                  </a:lnTo>
                  <a:lnTo>
                    <a:pt x="310" y="866"/>
                  </a:lnTo>
                  <a:close/>
                  <a:moveTo>
                    <a:pt x="310" y="747"/>
                  </a:moveTo>
                  <a:lnTo>
                    <a:pt x="456" y="747"/>
                  </a:lnTo>
                  <a:lnTo>
                    <a:pt x="456" y="797"/>
                  </a:lnTo>
                  <a:lnTo>
                    <a:pt x="310" y="797"/>
                  </a:lnTo>
                  <a:lnTo>
                    <a:pt x="310" y="747"/>
                  </a:lnTo>
                  <a:close/>
                  <a:moveTo>
                    <a:pt x="310" y="627"/>
                  </a:moveTo>
                  <a:lnTo>
                    <a:pt x="456" y="627"/>
                  </a:lnTo>
                  <a:lnTo>
                    <a:pt x="456" y="677"/>
                  </a:lnTo>
                  <a:lnTo>
                    <a:pt x="310" y="677"/>
                  </a:lnTo>
                  <a:lnTo>
                    <a:pt x="310" y="627"/>
                  </a:lnTo>
                  <a:close/>
                  <a:moveTo>
                    <a:pt x="310" y="507"/>
                  </a:moveTo>
                  <a:lnTo>
                    <a:pt x="456" y="507"/>
                  </a:lnTo>
                  <a:lnTo>
                    <a:pt x="456" y="557"/>
                  </a:lnTo>
                  <a:lnTo>
                    <a:pt x="310" y="557"/>
                  </a:lnTo>
                  <a:lnTo>
                    <a:pt x="310" y="507"/>
                  </a:lnTo>
                  <a:close/>
                  <a:moveTo>
                    <a:pt x="310" y="267"/>
                  </a:moveTo>
                  <a:lnTo>
                    <a:pt x="456" y="267"/>
                  </a:lnTo>
                  <a:lnTo>
                    <a:pt x="456" y="317"/>
                  </a:lnTo>
                  <a:lnTo>
                    <a:pt x="310" y="317"/>
                  </a:lnTo>
                  <a:lnTo>
                    <a:pt x="310" y="267"/>
                  </a:lnTo>
                  <a:close/>
                  <a:moveTo>
                    <a:pt x="77" y="1586"/>
                  </a:moveTo>
                  <a:lnTo>
                    <a:pt x="223" y="1586"/>
                  </a:lnTo>
                  <a:lnTo>
                    <a:pt x="223" y="1637"/>
                  </a:lnTo>
                  <a:lnTo>
                    <a:pt x="77" y="1637"/>
                  </a:lnTo>
                  <a:lnTo>
                    <a:pt x="77" y="1586"/>
                  </a:lnTo>
                  <a:close/>
                  <a:moveTo>
                    <a:pt x="77" y="1466"/>
                  </a:moveTo>
                  <a:lnTo>
                    <a:pt x="223" y="1466"/>
                  </a:lnTo>
                  <a:lnTo>
                    <a:pt x="223" y="1517"/>
                  </a:lnTo>
                  <a:lnTo>
                    <a:pt x="77" y="1517"/>
                  </a:lnTo>
                  <a:lnTo>
                    <a:pt x="77" y="1466"/>
                  </a:lnTo>
                  <a:close/>
                  <a:moveTo>
                    <a:pt x="77" y="1226"/>
                  </a:moveTo>
                  <a:lnTo>
                    <a:pt x="223" y="1226"/>
                  </a:lnTo>
                  <a:lnTo>
                    <a:pt x="223" y="1277"/>
                  </a:lnTo>
                  <a:lnTo>
                    <a:pt x="77" y="1277"/>
                  </a:lnTo>
                  <a:lnTo>
                    <a:pt x="77" y="1226"/>
                  </a:lnTo>
                  <a:close/>
                  <a:moveTo>
                    <a:pt x="77" y="986"/>
                  </a:moveTo>
                  <a:lnTo>
                    <a:pt x="223" y="986"/>
                  </a:lnTo>
                  <a:lnTo>
                    <a:pt x="223" y="1037"/>
                  </a:lnTo>
                  <a:lnTo>
                    <a:pt x="77" y="1037"/>
                  </a:lnTo>
                  <a:lnTo>
                    <a:pt x="77" y="986"/>
                  </a:lnTo>
                  <a:close/>
                  <a:moveTo>
                    <a:pt x="77" y="866"/>
                  </a:moveTo>
                  <a:lnTo>
                    <a:pt x="223" y="866"/>
                  </a:lnTo>
                  <a:lnTo>
                    <a:pt x="223" y="917"/>
                  </a:lnTo>
                  <a:lnTo>
                    <a:pt x="77" y="917"/>
                  </a:lnTo>
                  <a:lnTo>
                    <a:pt x="77" y="866"/>
                  </a:lnTo>
                  <a:close/>
                  <a:moveTo>
                    <a:pt x="77" y="627"/>
                  </a:moveTo>
                  <a:lnTo>
                    <a:pt x="223" y="627"/>
                  </a:lnTo>
                  <a:lnTo>
                    <a:pt x="223" y="677"/>
                  </a:lnTo>
                  <a:lnTo>
                    <a:pt x="77" y="677"/>
                  </a:lnTo>
                  <a:lnTo>
                    <a:pt x="77" y="627"/>
                  </a:lnTo>
                  <a:close/>
                  <a:moveTo>
                    <a:pt x="77" y="387"/>
                  </a:moveTo>
                  <a:lnTo>
                    <a:pt x="223" y="387"/>
                  </a:lnTo>
                  <a:lnTo>
                    <a:pt x="223" y="437"/>
                  </a:lnTo>
                  <a:lnTo>
                    <a:pt x="77" y="437"/>
                  </a:lnTo>
                  <a:lnTo>
                    <a:pt x="77" y="387"/>
                  </a:lnTo>
                  <a:close/>
                  <a:moveTo>
                    <a:pt x="77" y="267"/>
                  </a:moveTo>
                  <a:lnTo>
                    <a:pt x="223" y="267"/>
                  </a:lnTo>
                  <a:lnTo>
                    <a:pt x="223" y="317"/>
                  </a:lnTo>
                  <a:lnTo>
                    <a:pt x="77" y="317"/>
                  </a:lnTo>
                  <a:lnTo>
                    <a:pt x="7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3" name="íS1ïďe"/>
            <p:cNvSpPr/>
            <p:nvPr/>
          </p:nvSpPr>
          <p:spPr bwMode="auto">
            <a:xfrm>
              <a:off x="3973513" y="3460750"/>
              <a:ext cx="846138" cy="2662238"/>
            </a:xfrm>
            <a:custGeom>
              <a:avLst/>
              <a:gdLst>
                <a:gd name="T0" fmla="*/ 0 w 533"/>
                <a:gd name="T1" fmla="*/ 1677 h 1677"/>
                <a:gd name="T2" fmla="*/ 533 w 533"/>
                <a:gd name="T3" fmla="*/ 204 h 1677"/>
                <a:gd name="T4" fmla="*/ 437 w 533"/>
                <a:gd name="T5" fmla="*/ 0 h 1677"/>
                <a:gd name="T6" fmla="*/ 329 w 533"/>
                <a:gd name="T7" fmla="*/ 204 h 1677"/>
                <a:gd name="T8" fmla="*/ 401 w 533"/>
                <a:gd name="T9" fmla="*/ 1252 h 1677"/>
                <a:gd name="T10" fmla="*/ 473 w 533"/>
                <a:gd name="T11" fmla="*/ 1324 h 1677"/>
                <a:gd name="T12" fmla="*/ 401 w 533"/>
                <a:gd name="T13" fmla="*/ 1252 h 1677"/>
                <a:gd name="T14" fmla="*/ 473 w 533"/>
                <a:gd name="T15" fmla="*/ 1104 h 1677"/>
                <a:gd name="T16" fmla="*/ 401 w 533"/>
                <a:gd name="T17" fmla="*/ 1176 h 1677"/>
                <a:gd name="T18" fmla="*/ 401 w 533"/>
                <a:gd name="T19" fmla="*/ 957 h 1677"/>
                <a:gd name="T20" fmla="*/ 473 w 533"/>
                <a:gd name="T21" fmla="*/ 1029 h 1677"/>
                <a:gd name="T22" fmla="*/ 401 w 533"/>
                <a:gd name="T23" fmla="*/ 957 h 1677"/>
                <a:gd name="T24" fmla="*/ 473 w 533"/>
                <a:gd name="T25" fmla="*/ 811 h 1677"/>
                <a:gd name="T26" fmla="*/ 401 w 533"/>
                <a:gd name="T27" fmla="*/ 883 h 1677"/>
                <a:gd name="T28" fmla="*/ 401 w 533"/>
                <a:gd name="T29" fmla="*/ 662 h 1677"/>
                <a:gd name="T30" fmla="*/ 473 w 533"/>
                <a:gd name="T31" fmla="*/ 734 h 1677"/>
                <a:gd name="T32" fmla="*/ 401 w 533"/>
                <a:gd name="T33" fmla="*/ 662 h 1677"/>
                <a:gd name="T34" fmla="*/ 473 w 533"/>
                <a:gd name="T35" fmla="*/ 516 h 1677"/>
                <a:gd name="T36" fmla="*/ 401 w 533"/>
                <a:gd name="T37" fmla="*/ 588 h 1677"/>
                <a:gd name="T38" fmla="*/ 288 w 533"/>
                <a:gd name="T39" fmla="*/ 1104 h 1677"/>
                <a:gd name="T40" fmla="*/ 360 w 533"/>
                <a:gd name="T41" fmla="*/ 1176 h 1677"/>
                <a:gd name="T42" fmla="*/ 288 w 533"/>
                <a:gd name="T43" fmla="*/ 1104 h 1677"/>
                <a:gd name="T44" fmla="*/ 360 w 533"/>
                <a:gd name="T45" fmla="*/ 957 h 1677"/>
                <a:gd name="T46" fmla="*/ 288 w 533"/>
                <a:gd name="T47" fmla="*/ 1029 h 1677"/>
                <a:gd name="T48" fmla="*/ 288 w 533"/>
                <a:gd name="T49" fmla="*/ 662 h 1677"/>
                <a:gd name="T50" fmla="*/ 360 w 533"/>
                <a:gd name="T51" fmla="*/ 734 h 1677"/>
                <a:gd name="T52" fmla="*/ 288 w 533"/>
                <a:gd name="T53" fmla="*/ 662 h 1677"/>
                <a:gd name="T54" fmla="*/ 360 w 533"/>
                <a:gd name="T55" fmla="*/ 516 h 1677"/>
                <a:gd name="T56" fmla="*/ 288 w 533"/>
                <a:gd name="T57" fmla="*/ 588 h 1677"/>
                <a:gd name="T58" fmla="*/ 288 w 533"/>
                <a:gd name="T59" fmla="*/ 370 h 1677"/>
                <a:gd name="T60" fmla="*/ 360 w 533"/>
                <a:gd name="T61" fmla="*/ 442 h 1677"/>
                <a:gd name="T62" fmla="*/ 288 w 533"/>
                <a:gd name="T63" fmla="*/ 370 h 1677"/>
                <a:gd name="T64" fmla="*/ 245 w 533"/>
                <a:gd name="T65" fmla="*/ 1252 h 1677"/>
                <a:gd name="T66" fmla="*/ 173 w 533"/>
                <a:gd name="T67" fmla="*/ 1324 h 1677"/>
                <a:gd name="T68" fmla="*/ 173 w 533"/>
                <a:gd name="T69" fmla="*/ 1104 h 1677"/>
                <a:gd name="T70" fmla="*/ 245 w 533"/>
                <a:gd name="T71" fmla="*/ 1176 h 1677"/>
                <a:gd name="T72" fmla="*/ 173 w 533"/>
                <a:gd name="T73" fmla="*/ 1104 h 1677"/>
                <a:gd name="T74" fmla="*/ 245 w 533"/>
                <a:gd name="T75" fmla="*/ 811 h 1677"/>
                <a:gd name="T76" fmla="*/ 173 w 533"/>
                <a:gd name="T77" fmla="*/ 883 h 1677"/>
                <a:gd name="T78" fmla="*/ 173 w 533"/>
                <a:gd name="T79" fmla="*/ 662 h 1677"/>
                <a:gd name="T80" fmla="*/ 245 w 533"/>
                <a:gd name="T81" fmla="*/ 734 h 1677"/>
                <a:gd name="T82" fmla="*/ 173 w 533"/>
                <a:gd name="T83" fmla="*/ 662 h 1677"/>
                <a:gd name="T84" fmla="*/ 245 w 533"/>
                <a:gd name="T85" fmla="*/ 516 h 1677"/>
                <a:gd name="T86" fmla="*/ 173 w 533"/>
                <a:gd name="T87" fmla="*/ 588 h 1677"/>
                <a:gd name="T88" fmla="*/ 173 w 533"/>
                <a:gd name="T89" fmla="*/ 370 h 1677"/>
                <a:gd name="T90" fmla="*/ 245 w 533"/>
                <a:gd name="T91" fmla="*/ 442 h 1677"/>
                <a:gd name="T92" fmla="*/ 173 w 533"/>
                <a:gd name="T93" fmla="*/ 370 h 1677"/>
                <a:gd name="T94" fmla="*/ 132 w 533"/>
                <a:gd name="T95" fmla="*/ 1252 h 1677"/>
                <a:gd name="T96" fmla="*/ 60 w 533"/>
                <a:gd name="T97" fmla="*/ 1324 h 1677"/>
                <a:gd name="T98" fmla="*/ 60 w 533"/>
                <a:gd name="T99" fmla="*/ 1104 h 1677"/>
                <a:gd name="T100" fmla="*/ 132 w 533"/>
                <a:gd name="T101" fmla="*/ 1176 h 1677"/>
                <a:gd name="T102" fmla="*/ 60 w 533"/>
                <a:gd name="T103" fmla="*/ 1104 h 1677"/>
                <a:gd name="T104" fmla="*/ 132 w 533"/>
                <a:gd name="T105" fmla="*/ 957 h 1677"/>
                <a:gd name="T106" fmla="*/ 60 w 533"/>
                <a:gd name="T107" fmla="*/ 1029 h 1677"/>
                <a:gd name="T108" fmla="*/ 60 w 533"/>
                <a:gd name="T109" fmla="*/ 811 h 1677"/>
                <a:gd name="T110" fmla="*/ 132 w 533"/>
                <a:gd name="T111" fmla="*/ 883 h 1677"/>
                <a:gd name="T112" fmla="*/ 60 w 533"/>
                <a:gd name="T113" fmla="*/ 811 h 1677"/>
                <a:gd name="T114" fmla="*/ 132 w 533"/>
                <a:gd name="T115" fmla="*/ 516 h 1677"/>
                <a:gd name="T116" fmla="*/ 60 w 533"/>
                <a:gd name="T117" fmla="*/ 588 h 1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1677">
                  <a:moveTo>
                    <a:pt x="0" y="204"/>
                  </a:moveTo>
                  <a:lnTo>
                    <a:pt x="0" y="1677"/>
                  </a:lnTo>
                  <a:lnTo>
                    <a:pt x="533" y="1677"/>
                  </a:lnTo>
                  <a:lnTo>
                    <a:pt x="533" y="204"/>
                  </a:lnTo>
                  <a:lnTo>
                    <a:pt x="437" y="204"/>
                  </a:lnTo>
                  <a:lnTo>
                    <a:pt x="437" y="0"/>
                  </a:lnTo>
                  <a:lnTo>
                    <a:pt x="329" y="0"/>
                  </a:lnTo>
                  <a:lnTo>
                    <a:pt x="329" y="204"/>
                  </a:lnTo>
                  <a:lnTo>
                    <a:pt x="0" y="204"/>
                  </a:lnTo>
                  <a:close/>
                  <a:moveTo>
                    <a:pt x="401" y="1252"/>
                  </a:moveTo>
                  <a:lnTo>
                    <a:pt x="473" y="1252"/>
                  </a:lnTo>
                  <a:lnTo>
                    <a:pt x="473" y="1324"/>
                  </a:lnTo>
                  <a:lnTo>
                    <a:pt x="401" y="1324"/>
                  </a:lnTo>
                  <a:lnTo>
                    <a:pt x="401" y="1252"/>
                  </a:lnTo>
                  <a:close/>
                  <a:moveTo>
                    <a:pt x="401" y="1104"/>
                  </a:moveTo>
                  <a:lnTo>
                    <a:pt x="473" y="1104"/>
                  </a:lnTo>
                  <a:lnTo>
                    <a:pt x="473" y="1176"/>
                  </a:lnTo>
                  <a:lnTo>
                    <a:pt x="401" y="1176"/>
                  </a:lnTo>
                  <a:lnTo>
                    <a:pt x="401" y="1104"/>
                  </a:lnTo>
                  <a:close/>
                  <a:moveTo>
                    <a:pt x="401" y="957"/>
                  </a:moveTo>
                  <a:lnTo>
                    <a:pt x="473" y="957"/>
                  </a:lnTo>
                  <a:lnTo>
                    <a:pt x="473" y="1029"/>
                  </a:lnTo>
                  <a:lnTo>
                    <a:pt x="401" y="1029"/>
                  </a:lnTo>
                  <a:lnTo>
                    <a:pt x="401" y="957"/>
                  </a:lnTo>
                  <a:close/>
                  <a:moveTo>
                    <a:pt x="401" y="811"/>
                  </a:moveTo>
                  <a:lnTo>
                    <a:pt x="473" y="811"/>
                  </a:lnTo>
                  <a:lnTo>
                    <a:pt x="473" y="883"/>
                  </a:lnTo>
                  <a:lnTo>
                    <a:pt x="401" y="883"/>
                  </a:lnTo>
                  <a:lnTo>
                    <a:pt x="401" y="811"/>
                  </a:lnTo>
                  <a:close/>
                  <a:moveTo>
                    <a:pt x="401" y="662"/>
                  </a:moveTo>
                  <a:lnTo>
                    <a:pt x="473" y="662"/>
                  </a:lnTo>
                  <a:lnTo>
                    <a:pt x="473" y="734"/>
                  </a:lnTo>
                  <a:lnTo>
                    <a:pt x="401" y="734"/>
                  </a:lnTo>
                  <a:lnTo>
                    <a:pt x="401" y="662"/>
                  </a:lnTo>
                  <a:close/>
                  <a:moveTo>
                    <a:pt x="401" y="516"/>
                  </a:moveTo>
                  <a:lnTo>
                    <a:pt x="473" y="516"/>
                  </a:lnTo>
                  <a:lnTo>
                    <a:pt x="473" y="588"/>
                  </a:lnTo>
                  <a:lnTo>
                    <a:pt x="401" y="588"/>
                  </a:lnTo>
                  <a:lnTo>
                    <a:pt x="401" y="516"/>
                  </a:lnTo>
                  <a:close/>
                  <a:moveTo>
                    <a:pt x="288" y="1104"/>
                  </a:moveTo>
                  <a:lnTo>
                    <a:pt x="360" y="1104"/>
                  </a:lnTo>
                  <a:lnTo>
                    <a:pt x="360" y="1176"/>
                  </a:lnTo>
                  <a:lnTo>
                    <a:pt x="288" y="1176"/>
                  </a:lnTo>
                  <a:lnTo>
                    <a:pt x="288" y="1104"/>
                  </a:lnTo>
                  <a:close/>
                  <a:moveTo>
                    <a:pt x="288" y="957"/>
                  </a:moveTo>
                  <a:lnTo>
                    <a:pt x="360" y="957"/>
                  </a:lnTo>
                  <a:lnTo>
                    <a:pt x="360" y="1029"/>
                  </a:lnTo>
                  <a:lnTo>
                    <a:pt x="288" y="1029"/>
                  </a:lnTo>
                  <a:lnTo>
                    <a:pt x="288" y="957"/>
                  </a:lnTo>
                  <a:close/>
                  <a:moveTo>
                    <a:pt x="288" y="662"/>
                  </a:moveTo>
                  <a:lnTo>
                    <a:pt x="360" y="662"/>
                  </a:lnTo>
                  <a:lnTo>
                    <a:pt x="360" y="734"/>
                  </a:lnTo>
                  <a:lnTo>
                    <a:pt x="288" y="734"/>
                  </a:lnTo>
                  <a:lnTo>
                    <a:pt x="288" y="662"/>
                  </a:lnTo>
                  <a:close/>
                  <a:moveTo>
                    <a:pt x="288" y="516"/>
                  </a:moveTo>
                  <a:lnTo>
                    <a:pt x="360" y="516"/>
                  </a:lnTo>
                  <a:lnTo>
                    <a:pt x="360" y="588"/>
                  </a:lnTo>
                  <a:lnTo>
                    <a:pt x="288" y="588"/>
                  </a:lnTo>
                  <a:lnTo>
                    <a:pt x="288" y="516"/>
                  </a:lnTo>
                  <a:close/>
                  <a:moveTo>
                    <a:pt x="288" y="370"/>
                  </a:moveTo>
                  <a:lnTo>
                    <a:pt x="360" y="370"/>
                  </a:lnTo>
                  <a:lnTo>
                    <a:pt x="360" y="442"/>
                  </a:lnTo>
                  <a:lnTo>
                    <a:pt x="288" y="442"/>
                  </a:lnTo>
                  <a:lnTo>
                    <a:pt x="288" y="370"/>
                  </a:lnTo>
                  <a:close/>
                  <a:moveTo>
                    <a:pt x="173" y="1252"/>
                  </a:moveTo>
                  <a:lnTo>
                    <a:pt x="245" y="1252"/>
                  </a:lnTo>
                  <a:lnTo>
                    <a:pt x="245" y="1324"/>
                  </a:lnTo>
                  <a:lnTo>
                    <a:pt x="173" y="1324"/>
                  </a:lnTo>
                  <a:lnTo>
                    <a:pt x="173" y="1252"/>
                  </a:lnTo>
                  <a:close/>
                  <a:moveTo>
                    <a:pt x="173" y="1104"/>
                  </a:moveTo>
                  <a:lnTo>
                    <a:pt x="245" y="1104"/>
                  </a:lnTo>
                  <a:lnTo>
                    <a:pt x="245" y="1176"/>
                  </a:lnTo>
                  <a:lnTo>
                    <a:pt x="173" y="1176"/>
                  </a:lnTo>
                  <a:lnTo>
                    <a:pt x="173" y="1104"/>
                  </a:lnTo>
                  <a:close/>
                  <a:moveTo>
                    <a:pt x="173" y="811"/>
                  </a:moveTo>
                  <a:lnTo>
                    <a:pt x="245" y="811"/>
                  </a:lnTo>
                  <a:lnTo>
                    <a:pt x="245" y="883"/>
                  </a:lnTo>
                  <a:lnTo>
                    <a:pt x="173" y="883"/>
                  </a:lnTo>
                  <a:lnTo>
                    <a:pt x="173" y="811"/>
                  </a:lnTo>
                  <a:close/>
                  <a:moveTo>
                    <a:pt x="173" y="662"/>
                  </a:moveTo>
                  <a:lnTo>
                    <a:pt x="245" y="662"/>
                  </a:lnTo>
                  <a:lnTo>
                    <a:pt x="245" y="734"/>
                  </a:lnTo>
                  <a:lnTo>
                    <a:pt x="173" y="734"/>
                  </a:lnTo>
                  <a:lnTo>
                    <a:pt x="173" y="662"/>
                  </a:lnTo>
                  <a:close/>
                  <a:moveTo>
                    <a:pt x="173" y="516"/>
                  </a:moveTo>
                  <a:lnTo>
                    <a:pt x="245" y="516"/>
                  </a:lnTo>
                  <a:lnTo>
                    <a:pt x="245" y="588"/>
                  </a:lnTo>
                  <a:lnTo>
                    <a:pt x="173" y="588"/>
                  </a:lnTo>
                  <a:lnTo>
                    <a:pt x="173" y="516"/>
                  </a:lnTo>
                  <a:close/>
                  <a:moveTo>
                    <a:pt x="173" y="370"/>
                  </a:moveTo>
                  <a:lnTo>
                    <a:pt x="245" y="370"/>
                  </a:lnTo>
                  <a:lnTo>
                    <a:pt x="245" y="442"/>
                  </a:lnTo>
                  <a:lnTo>
                    <a:pt x="173" y="442"/>
                  </a:lnTo>
                  <a:lnTo>
                    <a:pt x="173" y="370"/>
                  </a:lnTo>
                  <a:close/>
                  <a:moveTo>
                    <a:pt x="60" y="1252"/>
                  </a:moveTo>
                  <a:lnTo>
                    <a:pt x="132" y="1252"/>
                  </a:lnTo>
                  <a:lnTo>
                    <a:pt x="132" y="1324"/>
                  </a:lnTo>
                  <a:lnTo>
                    <a:pt x="60" y="1324"/>
                  </a:lnTo>
                  <a:lnTo>
                    <a:pt x="60" y="1252"/>
                  </a:lnTo>
                  <a:close/>
                  <a:moveTo>
                    <a:pt x="60" y="1104"/>
                  </a:moveTo>
                  <a:lnTo>
                    <a:pt x="132" y="1104"/>
                  </a:lnTo>
                  <a:lnTo>
                    <a:pt x="132" y="1176"/>
                  </a:lnTo>
                  <a:lnTo>
                    <a:pt x="60" y="1176"/>
                  </a:lnTo>
                  <a:lnTo>
                    <a:pt x="60" y="1104"/>
                  </a:lnTo>
                  <a:close/>
                  <a:moveTo>
                    <a:pt x="60" y="957"/>
                  </a:moveTo>
                  <a:lnTo>
                    <a:pt x="132" y="957"/>
                  </a:lnTo>
                  <a:lnTo>
                    <a:pt x="132" y="1029"/>
                  </a:lnTo>
                  <a:lnTo>
                    <a:pt x="60" y="1029"/>
                  </a:lnTo>
                  <a:lnTo>
                    <a:pt x="60" y="957"/>
                  </a:lnTo>
                  <a:close/>
                  <a:moveTo>
                    <a:pt x="60" y="811"/>
                  </a:moveTo>
                  <a:lnTo>
                    <a:pt x="132" y="811"/>
                  </a:lnTo>
                  <a:lnTo>
                    <a:pt x="132" y="883"/>
                  </a:lnTo>
                  <a:lnTo>
                    <a:pt x="60" y="883"/>
                  </a:lnTo>
                  <a:lnTo>
                    <a:pt x="60" y="811"/>
                  </a:lnTo>
                  <a:close/>
                  <a:moveTo>
                    <a:pt x="60" y="516"/>
                  </a:moveTo>
                  <a:lnTo>
                    <a:pt x="132" y="516"/>
                  </a:lnTo>
                  <a:lnTo>
                    <a:pt x="132" y="588"/>
                  </a:lnTo>
                  <a:lnTo>
                    <a:pt x="60" y="588"/>
                  </a:lnTo>
                  <a:lnTo>
                    <a:pt x="60" y="5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54" name="í$ḷiďe"/>
            <p:cNvSpPr/>
            <p:nvPr/>
          </p:nvSpPr>
          <p:spPr bwMode="auto">
            <a:xfrm>
              <a:off x="5907088" y="4092575"/>
              <a:ext cx="846138" cy="2030413"/>
            </a:xfrm>
            <a:custGeom>
              <a:avLst/>
              <a:gdLst>
                <a:gd name="T0" fmla="*/ 0 w 533"/>
                <a:gd name="T1" fmla="*/ 224 h 1279"/>
                <a:gd name="T2" fmla="*/ 0 w 533"/>
                <a:gd name="T3" fmla="*/ 1279 h 1279"/>
                <a:gd name="T4" fmla="*/ 533 w 533"/>
                <a:gd name="T5" fmla="*/ 1279 h 1279"/>
                <a:gd name="T6" fmla="*/ 533 w 533"/>
                <a:gd name="T7" fmla="*/ 224 h 1279"/>
                <a:gd name="T8" fmla="*/ 451 w 533"/>
                <a:gd name="T9" fmla="*/ 224 h 1279"/>
                <a:gd name="T10" fmla="*/ 451 w 533"/>
                <a:gd name="T11" fmla="*/ 116 h 1279"/>
                <a:gd name="T12" fmla="*/ 82 w 533"/>
                <a:gd name="T13" fmla="*/ 0 h 1279"/>
                <a:gd name="T14" fmla="*/ 82 w 533"/>
                <a:gd name="T15" fmla="*/ 224 h 1279"/>
                <a:gd name="T16" fmla="*/ 0 w 533"/>
                <a:gd name="T17" fmla="*/ 224 h 1279"/>
                <a:gd name="T18" fmla="*/ 324 w 533"/>
                <a:gd name="T19" fmla="*/ 792 h 1279"/>
                <a:gd name="T20" fmla="*/ 432 w 533"/>
                <a:gd name="T21" fmla="*/ 792 h 1279"/>
                <a:gd name="T22" fmla="*/ 432 w 533"/>
                <a:gd name="T23" fmla="*/ 900 h 1279"/>
                <a:gd name="T24" fmla="*/ 324 w 533"/>
                <a:gd name="T25" fmla="*/ 900 h 1279"/>
                <a:gd name="T26" fmla="*/ 324 w 533"/>
                <a:gd name="T27" fmla="*/ 792 h 1279"/>
                <a:gd name="T28" fmla="*/ 324 w 533"/>
                <a:gd name="T29" fmla="*/ 574 h 1279"/>
                <a:gd name="T30" fmla="*/ 432 w 533"/>
                <a:gd name="T31" fmla="*/ 574 h 1279"/>
                <a:gd name="T32" fmla="*/ 432 w 533"/>
                <a:gd name="T33" fmla="*/ 682 h 1279"/>
                <a:gd name="T34" fmla="*/ 324 w 533"/>
                <a:gd name="T35" fmla="*/ 682 h 1279"/>
                <a:gd name="T36" fmla="*/ 324 w 533"/>
                <a:gd name="T37" fmla="*/ 574 h 1279"/>
                <a:gd name="T38" fmla="*/ 324 w 533"/>
                <a:gd name="T39" fmla="*/ 355 h 1279"/>
                <a:gd name="T40" fmla="*/ 432 w 533"/>
                <a:gd name="T41" fmla="*/ 355 h 1279"/>
                <a:gd name="T42" fmla="*/ 432 w 533"/>
                <a:gd name="T43" fmla="*/ 463 h 1279"/>
                <a:gd name="T44" fmla="*/ 324 w 533"/>
                <a:gd name="T45" fmla="*/ 463 h 1279"/>
                <a:gd name="T46" fmla="*/ 324 w 533"/>
                <a:gd name="T47" fmla="*/ 355 h 1279"/>
                <a:gd name="T48" fmla="*/ 101 w 533"/>
                <a:gd name="T49" fmla="*/ 792 h 1279"/>
                <a:gd name="T50" fmla="*/ 209 w 533"/>
                <a:gd name="T51" fmla="*/ 792 h 1279"/>
                <a:gd name="T52" fmla="*/ 209 w 533"/>
                <a:gd name="T53" fmla="*/ 900 h 1279"/>
                <a:gd name="T54" fmla="*/ 101 w 533"/>
                <a:gd name="T55" fmla="*/ 900 h 1279"/>
                <a:gd name="T56" fmla="*/ 101 w 533"/>
                <a:gd name="T57" fmla="*/ 792 h 1279"/>
                <a:gd name="T58" fmla="*/ 101 w 533"/>
                <a:gd name="T59" fmla="*/ 574 h 1279"/>
                <a:gd name="T60" fmla="*/ 209 w 533"/>
                <a:gd name="T61" fmla="*/ 574 h 1279"/>
                <a:gd name="T62" fmla="*/ 209 w 533"/>
                <a:gd name="T63" fmla="*/ 682 h 1279"/>
                <a:gd name="T64" fmla="*/ 101 w 533"/>
                <a:gd name="T65" fmla="*/ 682 h 1279"/>
                <a:gd name="T66" fmla="*/ 101 w 533"/>
                <a:gd name="T67" fmla="*/ 574 h 1279"/>
                <a:gd name="T68" fmla="*/ 101 w 533"/>
                <a:gd name="T69" fmla="*/ 355 h 1279"/>
                <a:gd name="T70" fmla="*/ 209 w 533"/>
                <a:gd name="T71" fmla="*/ 355 h 1279"/>
                <a:gd name="T72" fmla="*/ 209 w 533"/>
                <a:gd name="T73" fmla="*/ 463 h 1279"/>
                <a:gd name="T74" fmla="*/ 101 w 533"/>
                <a:gd name="T75" fmla="*/ 463 h 1279"/>
                <a:gd name="T76" fmla="*/ 101 w 533"/>
                <a:gd name="T77" fmla="*/ 35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3" h="1279">
                  <a:moveTo>
                    <a:pt x="0" y="224"/>
                  </a:moveTo>
                  <a:lnTo>
                    <a:pt x="0" y="1279"/>
                  </a:lnTo>
                  <a:lnTo>
                    <a:pt x="533" y="1279"/>
                  </a:lnTo>
                  <a:lnTo>
                    <a:pt x="533" y="224"/>
                  </a:lnTo>
                  <a:lnTo>
                    <a:pt x="451" y="224"/>
                  </a:lnTo>
                  <a:lnTo>
                    <a:pt x="451" y="116"/>
                  </a:lnTo>
                  <a:lnTo>
                    <a:pt x="82" y="0"/>
                  </a:lnTo>
                  <a:lnTo>
                    <a:pt x="82" y="224"/>
                  </a:lnTo>
                  <a:lnTo>
                    <a:pt x="0" y="224"/>
                  </a:lnTo>
                  <a:close/>
                  <a:moveTo>
                    <a:pt x="324" y="792"/>
                  </a:moveTo>
                  <a:lnTo>
                    <a:pt x="432" y="792"/>
                  </a:lnTo>
                  <a:lnTo>
                    <a:pt x="432" y="900"/>
                  </a:lnTo>
                  <a:lnTo>
                    <a:pt x="324" y="900"/>
                  </a:lnTo>
                  <a:lnTo>
                    <a:pt x="324" y="792"/>
                  </a:lnTo>
                  <a:close/>
                  <a:moveTo>
                    <a:pt x="324" y="574"/>
                  </a:moveTo>
                  <a:lnTo>
                    <a:pt x="432" y="574"/>
                  </a:lnTo>
                  <a:lnTo>
                    <a:pt x="432" y="682"/>
                  </a:lnTo>
                  <a:lnTo>
                    <a:pt x="324" y="682"/>
                  </a:lnTo>
                  <a:lnTo>
                    <a:pt x="324" y="574"/>
                  </a:lnTo>
                  <a:close/>
                  <a:moveTo>
                    <a:pt x="324" y="355"/>
                  </a:moveTo>
                  <a:lnTo>
                    <a:pt x="432" y="355"/>
                  </a:lnTo>
                  <a:lnTo>
                    <a:pt x="432" y="463"/>
                  </a:lnTo>
                  <a:lnTo>
                    <a:pt x="324" y="463"/>
                  </a:lnTo>
                  <a:lnTo>
                    <a:pt x="324" y="355"/>
                  </a:lnTo>
                  <a:close/>
                  <a:moveTo>
                    <a:pt x="101" y="792"/>
                  </a:moveTo>
                  <a:lnTo>
                    <a:pt x="209" y="792"/>
                  </a:lnTo>
                  <a:lnTo>
                    <a:pt x="209" y="900"/>
                  </a:lnTo>
                  <a:lnTo>
                    <a:pt x="101" y="900"/>
                  </a:lnTo>
                  <a:lnTo>
                    <a:pt x="101" y="792"/>
                  </a:lnTo>
                  <a:close/>
                  <a:moveTo>
                    <a:pt x="101" y="574"/>
                  </a:moveTo>
                  <a:lnTo>
                    <a:pt x="209" y="574"/>
                  </a:lnTo>
                  <a:lnTo>
                    <a:pt x="209" y="682"/>
                  </a:lnTo>
                  <a:lnTo>
                    <a:pt x="101" y="682"/>
                  </a:lnTo>
                  <a:lnTo>
                    <a:pt x="101" y="574"/>
                  </a:lnTo>
                  <a:close/>
                  <a:moveTo>
                    <a:pt x="101" y="355"/>
                  </a:moveTo>
                  <a:lnTo>
                    <a:pt x="209" y="355"/>
                  </a:lnTo>
                  <a:lnTo>
                    <a:pt x="209" y="463"/>
                  </a:lnTo>
                  <a:lnTo>
                    <a:pt x="101" y="463"/>
                  </a:lnTo>
                  <a:lnTo>
                    <a:pt x="101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</p:grpSp>
      <p:pic>
        <p:nvPicPr>
          <p:cNvPr id="63" name="图片 6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6016" y="2681513"/>
            <a:ext cx="7854120" cy="3212635"/>
          </a:xfrm>
          <a:prstGeom prst="rect">
            <a:avLst/>
          </a:prstGeom>
        </p:spPr>
      </p:pic>
      <p:sp>
        <p:nvSpPr>
          <p:cNvPr id="41" name="îslîḋê"/>
          <p:cNvSpPr/>
          <p:nvPr userDrawn="1"/>
        </p:nvSpPr>
        <p:spPr bwMode="auto">
          <a:xfrm>
            <a:off x="4762" y="5042646"/>
            <a:ext cx="12187237" cy="1807323"/>
          </a:xfrm>
          <a:custGeom>
            <a:avLst/>
            <a:gdLst>
              <a:gd name="T0" fmla="*/ 0 w 3200"/>
              <a:gd name="T1" fmla="*/ 129 h 391"/>
              <a:gd name="T2" fmla="*/ 3200 w 3200"/>
              <a:gd name="T3" fmla="*/ 0 h 391"/>
              <a:gd name="T4" fmla="*/ 3200 w 3200"/>
              <a:gd name="T5" fmla="*/ 268 h 391"/>
              <a:gd name="T6" fmla="*/ 0 w 3200"/>
              <a:gd name="T7" fmla="*/ 264 h 391"/>
              <a:gd name="T8" fmla="*/ 0 w 3200"/>
              <a:gd name="T9" fmla="*/ 129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391">
                <a:moveTo>
                  <a:pt x="0" y="129"/>
                </a:moveTo>
                <a:cubicBezTo>
                  <a:pt x="217" y="129"/>
                  <a:pt x="2396" y="272"/>
                  <a:pt x="3200" y="0"/>
                </a:cubicBezTo>
                <a:cubicBezTo>
                  <a:pt x="3200" y="391"/>
                  <a:pt x="3200" y="268"/>
                  <a:pt x="3200" y="268"/>
                </a:cubicBezTo>
                <a:cubicBezTo>
                  <a:pt x="0" y="264"/>
                  <a:pt x="0" y="264"/>
                  <a:pt x="0" y="264"/>
                </a:cubicBezTo>
                <a:lnTo>
                  <a:pt x="0" y="1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ru-RU"/>
          </a:p>
        </p:txBody>
      </p:sp>
      <p:sp>
        <p:nvSpPr>
          <p:cNvPr id="42" name="iṥliḍè"/>
          <p:cNvSpPr/>
          <p:nvPr userDrawn="1"/>
        </p:nvSpPr>
        <p:spPr bwMode="auto">
          <a:xfrm>
            <a:off x="4762" y="4796935"/>
            <a:ext cx="12187237" cy="2066481"/>
          </a:xfrm>
          <a:custGeom>
            <a:avLst/>
            <a:gdLst>
              <a:gd name="T0" fmla="*/ 3200 w 3200"/>
              <a:gd name="T1" fmla="*/ 331 h 465"/>
              <a:gd name="T2" fmla="*/ 0 w 3200"/>
              <a:gd name="T3" fmla="*/ 0 h 465"/>
              <a:gd name="T4" fmla="*/ 0 w 3200"/>
              <a:gd name="T5" fmla="*/ 465 h 465"/>
              <a:gd name="T6" fmla="*/ 3200 w 3200"/>
              <a:gd name="T7" fmla="*/ 465 h 465"/>
              <a:gd name="T8" fmla="*/ 3200 w 3200"/>
              <a:gd name="T9" fmla="*/ 331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465">
                <a:moveTo>
                  <a:pt x="3200" y="331"/>
                </a:moveTo>
                <a:cubicBezTo>
                  <a:pt x="2983" y="331"/>
                  <a:pt x="804" y="273"/>
                  <a:pt x="0" y="0"/>
                </a:cubicBezTo>
                <a:cubicBezTo>
                  <a:pt x="0" y="392"/>
                  <a:pt x="0" y="465"/>
                  <a:pt x="0" y="465"/>
                </a:cubicBezTo>
                <a:cubicBezTo>
                  <a:pt x="3200" y="465"/>
                  <a:pt x="3200" y="465"/>
                  <a:pt x="3200" y="465"/>
                </a:cubicBezTo>
                <a:lnTo>
                  <a:pt x="3200" y="331"/>
                </a:lnTo>
                <a:close/>
              </a:path>
            </a:pathLst>
          </a:custGeom>
          <a:solidFill>
            <a:srgbClr val="1E43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719417"/>
            <a:ext cx="11089949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任意多边形 8"/>
          <p:cNvSpPr/>
          <p:nvPr userDrawn="1"/>
        </p:nvSpPr>
        <p:spPr>
          <a:xfrm flipH="1" flipV="1">
            <a:off x="-10623" y="-1"/>
            <a:ext cx="767368" cy="708193"/>
          </a:xfrm>
          <a:custGeom>
            <a:avLst/>
            <a:gdLst>
              <a:gd name="connsiteX0" fmla="*/ 2658701 w 3945155"/>
              <a:gd name="connsiteY0" fmla="*/ 38 h 3640926"/>
              <a:gd name="connsiteX1" fmla="*/ 3857730 w 3945155"/>
              <a:gd name="connsiteY1" fmla="*/ 295953 h 3640926"/>
              <a:gd name="connsiteX2" fmla="*/ 3945155 w 3945155"/>
              <a:gd name="connsiteY2" fmla="*/ 345547 h 3640926"/>
              <a:gd name="connsiteX3" fmla="*/ 3945155 w 3945155"/>
              <a:gd name="connsiteY3" fmla="*/ 3640926 h 3640926"/>
              <a:gd name="connsiteX4" fmla="*/ 197308 w 3945155"/>
              <a:gd name="connsiteY4" fmla="*/ 3640926 h 3640926"/>
              <a:gd name="connsiteX5" fmla="*/ 115817 w 3945155"/>
              <a:gd name="connsiteY5" fmla="*/ 3415355 h 3640926"/>
              <a:gd name="connsiteX6" fmla="*/ 1872266 w 3945155"/>
              <a:gd name="connsiteY6" fmla="*/ 115818 h 3640926"/>
              <a:gd name="connsiteX7" fmla="*/ 2658701 w 3945155"/>
              <a:gd name="connsiteY7" fmla="*/ 38 h 3640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45155" h="3640926">
                <a:moveTo>
                  <a:pt x="2658701" y="38"/>
                </a:moveTo>
                <a:cubicBezTo>
                  <a:pt x="3081233" y="2289"/>
                  <a:pt x="3491585" y="106610"/>
                  <a:pt x="3857730" y="295953"/>
                </a:cubicBezTo>
                <a:lnTo>
                  <a:pt x="3945155" y="345547"/>
                </a:lnTo>
                <a:lnTo>
                  <a:pt x="3945155" y="3640926"/>
                </a:lnTo>
                <a:lnTo>
                  <a:pt x="197308" y="3640926"/>
                </a:lnTo>
                <a:lnTo>
                  <a:pt x="115817" y="3415355"/>
                </a:lnTo>
                <a:cubicBezTo>
                  <a:pt x="-310295" y="2019184"/>
                  <a:pt x="476094" y="541930"/>
                  <a:pt x="1872266" y="115818"/>
                </a:cubicBezTo>
                <a:cubicBezTo>
                  <a:pt x="2134048" y="35922"/>
                  <a:pt x="2398681" y="-1347"/>
                  <a:pt x="2658701" y="38"/>
                </a:cubicBezTo>
                <a:close/>
              </a:path>
            </a:pathLst>
          </a:custGeom>
          <a:gradFill>
            <a:gsLst>
              <a:gs pos="0">
                <a:srgbClr val="59B4D7"/>
              </a:gs>
              <a:gs pos="100000">
                <a:srgbClr val="89CE5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2437" y="149862"/>
            <a:ext cx="1694330" cy="477648"/>
          </a:xfrm>
          <a:prstGeom prst="rect">
            <a:avLst/>
          </a:prstGeom>
        </p:spPr>
      </p:pic>
      <p:sp>
        <p:nvSpPr>
          <p:cNvPr id="11" name="îslîḋê"/>
          <p:cNvSpPr/>
          <p:nvPr userDrawn="1"/>
        </p:nvSpPr>
        <p:spPr bwMode="auto">
          <a:xfrm>
            <a:off x="4762" y="6347012"/>
            <a:ext cx="12187237" cy="502957"/>
          </a:xfrm>
          <a:custGeom>
            <a:avLst/>
            <a:gdLst>
              <a:gd name="T0" fmla="*/ 0 w 3200"/>
              <a:gd name="T1" fmla="*/ 129 h 391"/>
              <a:gd name="T2" fmla="*/ 3200 w 3200"/>
              <a:gd name="T3" fmla="*/ 0 h 391"/>
              <a:gd name="T4" fmla="*/ 3200 w 3200"/>
              <a:gd name="T5" fmla="*/ 268 h 391"/>
              <a:gd name="T6" fmla="*/ 0 w 3200"/>
              <a:gd name="T7" fmla="*/ 264 h 391"/>
              <a:gd name="T8" fmla="*/ 0 w 3200"/>
              <a:gd name="T9" fmla="*/ 129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391">
                <a:moveTo>
                  <a:pt x="0" y="129"/>
                </a:moveTo>
                <a:cubicBezTo>
                  <a:pt x="217" y="129"/>
                  <a:pt x="2396" y="272"/>
                  <a:pt x="3200" y="0"/>
                </a:cubicBezTo>
                <a:cubicBezTo>
                  <a:pt x="3200" y="391"/>
                  <a:pt x="3200" y="268"/>
                  <a:pt x="3200" y="268"/>
                </a:cubicBezTo>
                <a:cubicBezTo>
                  <a:pt x="0" y="264"/>
                  <a:pt x="0" y="264"/>
                  <a:pt x="0" y="264"/>
                </a:cubicBezTo>
                <a:lnTo>
                  <a:pt x="0" y="129"/>
                </a:lnTo>
                <a:close/>
              </a:path>
            </a:pathLst>
          </a:custGeom>
          <a:solidFill>
            <a:srgbClr val="89CE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ru-RU"/>
          </a:p>
        </p:txBody>
      </p:sp>
      <p:sp>
        <p:nvSpPr>
          <p:cNvPr id="12" name="iṥliḍè"/>
          <p:cNvSpPr/>
          <p:nvPr userDrawn="1"/>
        </p:nvSpPr>
        <p:spPr bwMode="auto">
          <a:xfrm>
            <a:off x="4762" y="6262166"/>
            <a:ext cx="12187237" cy="601250"/>
          </a:xfrm>
          <a:custGeom>
            <a:avLst/>
            <a:gdLst>
              <a:gd name="T0" fmla="*/ 3200 w 3200"/>
              <a:gd name="T1" fmla="*/ 331 h 465"/>
              <a:gd name="T2" fmla="*/ 0 w 3200"/>
              <a:gd name="T3" fmla="*/ 0 h 465"/>
              <a:gd name="T4" fmla="*/ 0 w 3200"/>
              <a:gd name="T5" fmla="*/ 465 h 465"/>
              <a:gd name="T6" fmla="*/ 3200 w 3200"/>
              <a:gd name="T7" fmla="*/ 465 h 465"/>
              <a:gd name="T8" fmla="*/ 3200 w 3200"/>
              <a:gd name="T9" fmla="*/ 331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465">
                <a:moveTo>
                  <a:pt x="3200" y="331"/>
                </a:moveTo>
                <a:cubicBezTo>
                  <a:pt x="2983" y="331"/>
                  <a:pt x="804" y="273"/>
                  <a:pt x="0" y="0"/>
                </a:cubicBezTo>
                <a:cubicBezTo>
                  <a:pt x="0" y="392"/>
                  <a:pt x="0" y="465"/>
                  <a:pt x="0" y="465"/>
                </a:cubicBezTo>
                <a:cubicBezTo>
                  <a:pt x="3200" y="465"/>
                  <a:pt x="3200" y="465"/>
                  <a:pt x="3200" y="465"/>
                </a:cubicBezTo>
                <a:lnTo>
                  <a:pt x="3200" y="331"/>
                </a:lnTo>
                <a:close/>
              </a:path>
            </a:pathLst>
          </a:custGeom>
          <a:solidFill>
            <a:srgbClr val="1E43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isḷidé"/>
          <p:cNvGrpSpPr/>
          <p:nvPr userDrawn="1"/>
        </p:nvGrpSpPr>
        <p:grpSpPr>
          <a:xfrm flipH="1">
            <a:off x="9384883" y="5032755"/>
            <a:ext cx="2807116" cy="1687220"/>
            <a:chOff x="107951" y="2128838"/>
            <a:chExt cx="6645275" cy="399415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39" name="íŝḻïḓè"/>
            <p:cNvSpPr/>
            <p:nvPr/>
          </p:nvSpPr>
          <p:spPr bwMode="auto">
            <a:xfrm>
              <a:off x="1074738" y="3060700"/>
              <a:ext cx="844550" cy="3062288"/>
            </a:xfrm>
            <a:custGeom>
              <a:avLst/>
              <a:gdLst>
                <a:gd name="T0" fmla="*/ 0 w 532"/>
                <a:gd name="T1" fmla="*/ 355 h 1929"/>
                <a:gd name="T2" fmla="*/ 0 w 532"/>
                <a:gd name="T3" fmla="*/ 1929 h 1929"/>
                <a:gd name="T4" fmla="*/ 532 w 532"/>
                <a:gd name="T5" fmla="*/ 1929 h 1929"/>
                <a:gd name="T6" fmla="*/ 532 w 532"/>
                <a:gd name="T7" fmla="*/ 0 h 1929"/>
                <a:gd name="T8" fmla="*/ 0 w 532"/>
                <a:gd name="T9" fmla="*/ 355 h 1929"/>
                <a:gd name="T10" fmla="*/ 69 w 532"/>
                <a:gd name="T11" fmla="*/ 1502 h 1929"/>
                <a:gd name="T12" fmla="*/ 462 w 532"/>
                <a:gd name="T13" fmla="*/ 1502 h 1929"/>
                <a:gd name="T14" fmla="*/ 462 w 532"/>
                <a:gd name="T15" fmla="*/ 1543 h 1929"/>
                <a:gd name="T16" fmla="*/ 69 w 532"/>
                <a:gd name="T17" fmla="*/ 1543 h 1929"/>
                <a:gd name="T18" fmla="*/ 69 w 532"/>
                <a:gd name="T19" fmla="*/ 1502 h 1929"/>
                <a:gd name="T20" fmla="*/ 69 w 532"/>
                <a:gd name="T21" fmla="*/ 1387 h 1929"/>
                <a:gd name="T22" fmla="*/ 462 w 532"/>
                <a:gd name="T23" fmla="*/ 1387 h 1929"/>
                <a:gd name="T24" fmla="*/ 462 w 532"/>
                <a:gd name="T25" fmla="*/ 1428 h 1929"/>
                <a:gd name="T26" fmla="*/ 69 w 532"/>
                <a:gd name="T27" fmla="*/ 1428 h 1929"/>
                <a:gd name="T28" fmla="*/ 69 w 532"/>
                <a:gd name="T29" fmla="*/ 1387 h 1929"/>
                <a:gd name="T30" fmla="*/ 69 w 532"/>
                <a:gd name="T31" fmla="*/ 1272 h 1929"/>
                <a:gd name="T32" fmla="*/ 462 w 532"/>
                <a:gd name="T33" fmla="*/ 1272 h 1929"/>
                <a:gd name="T34" fmla="*/ 462 w 532"/>
                <a:gd name="T35" fmla="*/ 1315 h 1929"/>
                <a:gd name="T36" fmla="*/ 69 w 532"/>
                <a:gd name="T37" fmla="*/ 1315 h 1929"/>
                <a:gd name="T38" fmla="*/ 69 w 532"/>
                <a:gd name="T39" fmla="*/ 1272 h 1929"/>
                <a:gd name="T40" fmla="*/ 69 w 532"/>
                <a:gd name="T41" fmla="*/ 1157 h 1929"/>
                <a:gd name="T42" fmla="*/ 462 w 532"/>
                <a:gd name="T43" fmla="*/ 1157 h 1929"/>
                <a:gd name="T44" fmla="*/ 462 w 532"/>
                <a:gd name="T45" fmla="*/ 1200 h 1929"/>
                <a:gd name="T46" fmla="*/ 69 w 532"/>
                <a:gd name="T47" fmla="*/ 1200 h 1929"/>
                <a:gd name="T48" fmla="*/ 69 w 532"/>
                <a:gd name="T49" fmla="*/ 1157 h 1929"/>
                <a:gd name="T50" fmla="*/ 69 w 532"/>
                <a:gd name="T51" fmla="*/ 1044 h 1929"/>
                <a:gd name="T52" fmla="*/ 462 w 532"/>
                <a:gd name="T53" fmla="*/ 1044 h 1929"/>
                <a:gd name="T54" fmla="*/ 462 w 532"/>
                <a:gd name="T55" fmla="*/ 1085 h 1929"/>
                <a:gd name="T56" fmla="*/ 69 w 532"/>
                <a:gd name="T57" fmla="*/ 1085 h 1929"/>
                <a:gd name="T58" fmla="*/ 69 w 532"/>
                <a:gd name="T59" fmla="*/ 1044 h 1929"/>
                <a:gd name="T60" fmla="*/ 69 w 532"/>
                <a:gd name="T61" fmla="*/ 929 h 1929"/>
                <a:gd name="T62" fmla="*/ 462 w 532"/>
                <a:gd name="T63" fmla="*/ 929 h 1929"/>
                <a:gd name="T64" fmla="*/ 462 w 532"/>
                <a:gd name="T65" fmla="*/ 969 h 1929"/>
                <a:gd name="T66" fmla="*/ 69 w 532"/>
                <a:gd name="T67" fmla="*/ 969 h 1929"/>
                <a:gd name="T68" fmla="*/ 69 w 532"/>
                <a:gd name="T69" fmla="*/ 929 h 1929"/>
                <a:gd name="T70" fmla="*/ 69 w 532"/>
                <a:gd name="T71" fmla="*/ 814 h 1929"/>
                <a:gd name="T72" fmla="*/ 462 w 532"/>
                <a:gd name="T73" fmla="*/ 814 h 1929"/>
                <a:gd name="T74" fmla="*/ 462 w 532"/>
                <a:gd name="T75" fmla="*/ 854 h 1929"/>
                <a:gd name="T76" fmla="*/ 69 w 532"/>
                <a:gd name="T77" fmla="*/ 854 h 1929"/>
                <a:gd name="T78" fmla="*/ 69 w 532"/>
                <a:gd name="T79" fmla="*/ 814 h 1929"/>
                <a:gd name="T80" fmla="*/ 69 w 532"/>
                <a:gd name="T81" fmla="*/ 698 h 1929"/>
                <a:gd name="T82" fmla="*/ 462 w 532"/>
                <a:gd name="T83" fmla="*/ 698 h 1929"/>
                <a:gd name="T84" fmla="*/ 462 w 532"/>
                <a:gd name="T85" fmla="*/ 739 h 1929"/>
                <a:gd name="T86" fmla="*/ 69 w 532"/>
                <a:gd name="T87" fmla="*/ 739 h 1929"/>
                <a:gd name="T88" fmla="*/ 69 w 532"/>
                <a:gd name="T89" fmla="*/ 698 h 1929"/>
                <a:gd name="T90" fmla="*/ 69 w 532"/>
                <a:gd name="T91" fmla="*/ 583 h 1929"/>
                <a:gd name="T92" fmla="*/ 462 w 532"/>
                <a:gd name="T93" fmla="*/ 583 h 1929"/>
                <a:gd name="T94" fmla="*/ 462 w 532"/>
                <a:gd name="T95" fmla="*/ 626 h 1929"/>
                <a:gd name="T96" fmla="*/ 69 w 532"/>
                <a:gd name="T97" fmla="*/ 626 h 1929"/>
                <a:gd name="T98" fmla="*/ 69 w 532"/>
                <a:gd name="T99" fmla="*/ 583 h 1929"/>
                <a:gd name="T100" fmla="*/ 69 w 532"/>
                <a:gd name="T101" fmla="*/ 468 h 1929"/>
                <a:gd name="T102" fmla="*/ 462 w 532"/>
                <a:gd name="T103" fmla="*/ 468 h 1929"/>
                <a:gd name="T104" fmla="*/ 462 w 532"/>
                <a:gd name="T105" fmla="*/ 511 h 1929"/>
                <a:gd name="T106" fmla="*/ 69 w 532"/>
                <a:gd name="T107" fmla="*/ 511 h 1929"/>
                <a:gd name="T108" fmla="*/ 69 w 532"/>
                <a:gd name="T109" fmla="*/ 468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2" h="1929">
                  <a:moveTo>
                    <a:pt x="0" y="355"/>
                  </a:moveTo>
                  <a:lnTo>
                    <a:pt x="0" y="1929"/>
                  </a:lnTo>
                  <a:lnTo>
                    <a:pt x="532" y="1929"/>
                  </a:lnTo>
                  <a:lnTo>
                    <a:pt x="532" y="0"/>
                  </a:lnTo>
                  <a:lnTo>
                    <a:pt x="0" y="355"/>
                  </a:lnTo>
                  <a:close/>
                  <a:moveTo>
                    <a:pt x="69" y="1502"/>
                  </a:moveTo>
                  <a:lnTo>
                    <a:pt x="462" y="1502"/>
                  </a:lnTo>
                  <a:lnTo>
                    <a:pt x="462" y="1543"/>
                  </a:lnTo>
                  <a:lnTo>
                    <a:pt x="69" y="1543"/>
                  </a:lnTo>
                  <a:lnTo>
                    <a:pt x="69" y="1502"/>
                  </a:lnTo>
                  <a:close/>
                  <a:moveTo>
                    <a:pt x="69" y="1387"/>
                  </a:moveTo>
                  <a:lnTo>
                    <a:pt x="462" y="1387"/>
                  </a:lnTo>
                  <a:lnTo>
                    <a:pt x="462" y="1428"/>
                  </a:lnTo>
                  <a:lnTo>
                    <a:pt x="69" y="1428"/>
                  </a:lnTo>
                  <a:lnTo>
                    <a:pt x="69" y="1387"/>
                  </a:lnTo>
                  <a:close/>
                  <a:moveTo>
                    <a:pt x="69" y="1272"/>
                  </a:moveTo>
                  <a:lnTo>
                    <a:pt x="462" y="1272"/>
                  </a:lnTo>
                  <a:lnTo>
                    <a:pt x="462" y="1315"/>
                  </a:lnTo>
                  <a:lnTo>
                    <a:pt x="69" y="1315"/>
                  </a:lnTo>
                  <a:lnTo>
                    <a:pt x="69" y="1272"/>
                  </a:lnTo>
                  <a:close/>
                  <a:moveTo>
                    <a:pt x="69" y="1157"/>
                  </a:moveTo>
                  <a:lnTo>
                    <a:pt x="462" y="1157"/>
                  </a:lnTo>
                  <a:lnTo>
                    <a:pt x="462" y="1200"/>
                  </a:lnTo>
                  <a:lnTo>
                    <a:pt x="69" y="1200"/>
                  </a:lnTo>
                  <a:lnTo>
                    <a:pt x="69" y="1157"/>
                  </a:lnTo>
                  <a:close/>
                  <a:moveTo>
                    <a:pt x="69" y="1044"/>
                  </a:moveTo>
                  <a:lnTo>
                    <a:pt x="462" y="1044"/>
                  </a:lnTo>
                  <a:lnTo>
                    <a:pt x="462" y="1085"/>
                  </a:lnTo>
                  <a:lnTo>
                    <a:pt x="69" y="1085"/>
                  </a:lnTo>
                  <a:lnTo>
                    <a:pt x="69" y="1044"/>
                  </a:lnTo>
                  <a:close/>
                  <a:moveTo>
                    <a:pt x="69" y="929"/>
                  </a:moveTo>
                  <a:lnTo>
                    <a:pt x="462" y="929"/>
                  </a:lnTo>
                  <a:lnTo>
                    <a:pt x="462" y="969"/>
                  </a:lnTo>
                  <a:lnTo>
                    <a:pt x="69" y="969"/>
                  </a:lnTo>
                  <a:lnTo>
                    <a:pt x="69" y="929"/>
                  </a:lnTo>
                  <a:close/>
                  <a:moveTo>
                    <a:pt x="69" y="814"/>
                  </a:moveTo>
                  <a:lnTo>
                    <a:pt x="462" y="814"/>
                  </a:lnTo>
                  <a:lnTo>
                    <a:pt x="462" y="854"/>
                  </a:lnTo>
                  <a:lnTo>
                    <a:pt x="69" y="854"/>
                  </a:lnTo>
                  <a:lnTo>
                    <a:pt x="69" y="814"/>
                  </a:lnTo>
                  <a:close/>
                  <a:moveTo>
                    <a:pt x="69" y="698"/>
                  </a:moveTo>
                  <a:lnTo>
                    <a:pt x="462" y="698"/>
                  </a:lnTo>
                  <a:lnTo>
                    <a:pt x="462" y="739"/>
                  </a:lnTo>
                  <a:lnTo>
                    <a:pt x="69" y="739"/>
                  </a:lnTo>
                  <a:lnTo>
                    <a:pt x="69" y="698"/>
                  </a:lnTo>
                  <a:close/>
                  <a:moveTo>
                    <a:pt x="69" y="583"/>
                  </a:moveTo>
                  <a:lnTo>
                    <a:pt x="462" y="583"/>
                  </a:lnTo>
                  <a:lnTo>
                    <a:pt x="462" y="626"/>
                  </a:lnTo>
                  <a:lnTo>
                    <a:pt x="69" y="626"/>
                  </a:lnTo>
                  <a:lnTo>
                    <a:pt x="69" y="583"/>
                  </a:lnTo>
                  <a:close/>
                  <a:moveTo>
                    <a:pt x="69" y="468"/>
                  </a:moveTo>
                  <a:lnTo>
                    <a:pt x="462" y="468"/>
                  </a:lnTo>
                  <a:lnTo>
                    <a:pt x="462" y="511"/>
                  </a:lnTo>
                  <a:lnTo>
                    <a:pt x="69" y="511"/>
                  </a:lnTo>
                  <a:lnTo>
                    <a:pt x="69" y="4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40" name="iŝļïďe"/>
            <p:cNvSpPr/>
            <p:nvPr/>
          </p:nvSpPr>
          <p:spPr bwMode="auto">
            <a:xfrm>
              <a:off x="107951" y="3571875"/>
              <a:ext cx="844550" cy="2551113"/>
            </a:xfrm>
            <a:custGeom>
              <a:avLst/>
              <a:gdLst>
                <a:gd name="T0" fmla="*/ 0 w 532"/>
                <a:gd name="T1" fmla="*/ 314 h 1607"/>
                <a:gd name="T2" fmla="*/ 0 w 532"/>
                <a:gd name="T3" fmla="*/ 1607 h 1607"/>
                <a:gd name="T4" fmla="*/ 532 w 532"/>
                <a:gd name="T5" fmla="*/ 1607 h 1607"/>
                <a:gd name="T6" fmla="*/ 532 w 532"/>
                <a:gd name="T7" fmla="*/ 314 h 1607"/>
                <a:gd name="T8" fmla="*/ 347 w 532"/>
                <a:gd name="T9" fmla="*/ 314 h 1607"/>
                <a:gd name="T10" fmla="*/ 347 w 532"/>
                <a:gd name="T11" fmla="*/ 192 h 1607"/>
                <a:gd name="T12" fmla="*/ 242 w 532"/>
                <a:gd name="T13" fmla="*/ 192 h 1607"/>
                <a:gd name="T14" fmla="*/ 242 w 532"/>
                <a:gd name="T15" fmla="*/ 314 h 1607"/>
                <a:gd name="T16" fmla="*/ 163 w 532"/>
                <a:gd name="T17" fmla="*/ 314 h 1607"/>
                <a:gd name="T18" fmla="*/ 163 w 532"/>
                <a:gd name="T19" fmla="*/ 0 h 1607"/>
                <a:gd name="T20" fmla="*/ 55 w 532"/>
                <a:gd name="T21" fmla="*/ 0 h 1607"/>
                <a:gd name="T22" fmla="*/ 55 w 532"/>
                <a:gd name="T23" fmla="*/ 314 h 1607"/>
                <a:gd name="T24" fmla="*/ 0 w 532"/>
                <a:gd name="T25" fmla="*/ 314 h 1607"/>
                <a:gd name="T26" fmla="*/ 335 w 532"/>
                <a:gd name="T27" fmla="*/ 1226 h 1607"/>
                <a:gd name="T28" fmla="*/ 438 w 532"/>
                <a:gd name="T29" fmla="*/ 1226 h 1607"/>
                <a:gd name="T30" fmla="*/ 438 w 532"/>
                <a:gd name="T31" fmla="*/ 1329 h 1607"/>
                <a:gd name="T32" fmla="*/ 335 w 532"/>
                <a:gd name="T33" fmla="*/ 1329 h 1607"/>
                <a:gd name="T34" fmla="*/ 335 w 532"/>
                <a:gd name="T35" fmla="*/ 1226 h 1607"/>
                <a:gd name="T36" fmla="*/ 335 w 532"/>
                <a:gd name="T37" fmla="*/ 1034 h 1607"/>
                <a:gd name="T38" fmla="*/ 438 w 532"/>
                <a:gd name="T39" fmla="*/ 1034 h 1607"/>
                <a:gd name="T40" fmla="*/ 438 w 532"/>
                <a:gd name="T41" fmla="*/ 1137 h 1607"/>
                <a:gd name="T42" fmla="*/ 335 w 532"/>
                <a:gd name="T43" fmla="*/ 1137 h 1607"/>
                <a:gd name="T44" fmla="*/ 335 w 532"/>
                <a:gd name="T45" fmla="*/ 1034 h 1607"/>
                <a:gd name="T46" fmla="*/ 335 w 532"/>
                <a:gd name="T47" fmla="*/ 842 h 1607"/>
                <a:gd name="T48" fmla="*/ 438 w 532"/>
                <a:gd name="T49" fmla="*/ 842 h 1607"/>
                <a:gd name="T50" fmla="*/ 438 w 532"/>
                <a:gd name="T51" fmla="*/ 947 h 1607"/>
                <a:gd name="T52" fmla="*/ 335 w 532"/>
                <a:gd name="T53" fmla="*/ 947 h 1607"/>
                <a:gd name="T54" fmla="*/ 335 w 532"/>
                <a:gd name="T55" fmla="*/ 842 h 1607"/>
                <a:gd name="T56" fmla="*/ 335 w 532"/>
                <a:gd name="T57" fmla="*/ 652 h 1607"/>
                <a:gd name="T58" fmla="*/ 438 w 532"/>
                <a:gd name="T59" fmla="*/ 652 h 1607"/>
                <a:gd name="T60" fmla="*/ 438 w 532"/>
                <a:gd name="T61" fmla="*/ 755 h 1607"/>
                <a:gd name="T62" fmla="*/ 335 w 532"/>
                <a:gd name="T63" fmla="*/ 755 h 1607"/>
                <a:gd name="T64" fmla="*/ 335 w 532"/>
                <a:gd name="T65" fmla="*/ 652 h 1607"/>
                <a:gd name="T66" fmla="*/ 335 w 532"/>
                <a:gd name="T67" fmla="*/ 460 h 1607"/>
                <a:gd name="T68" fmla="*/ 438 w 532"/>
                <a:gd name="T69" fmla="*/ 460 h 1607"/>
                <a:gd name="T70" fmla="*/ 438 w 532"/>
                <a:gd name="T71" fmla="*/ 566 h 1607"/>
                <a:gd name="T72" fmla="*/ 335 w 532"/>
                <a:gd name="T73" fmla="*/ 566 h 1607"/>
                <a:gd name="T74" fmla="*/ 335 w 532"/>
                <a:gd name="T75" fmla="*/ 460 h 1607"/>
                <a:gd name="T76" fmla="*/ 93 w 532"/>
                <a:gd name="T77" fmla="*/ 1226 h 1607"/>
                <a:gd name="T78" fmla="*/ 196 w 532"/>
                <a:gd name="T79" fmla="*/ 1226 h 1607"/>
                <a:gd name="T80" fmla="*/ 196 w 532"/>
                <a:gd name="T81" fmla="*/ 1329 h 1607"/>
                <a:gd name="T82" fmla="*/ 93 w 532"/>
                <a:gd name="T83" fmla="*/ 1329 h 1607"/>
                <a:gd name="T84" fmla="*/ 93 w 532"/>
                <a:gd name="T85" fmla="*/ 1226 h 1607"/>
                <a:gd name="T86" fmla="*/ 93 w 532"/>
                <a:gd name="T87" fmla="*/ 1034 h 1607"/>
                <a:gd name="T88" fmla="*/ 196 w 532"/>
                <a:gd name="T89" fmla="*/ 1034 h 1607"/>
                <a:gd name="T90" fmla="*/ 196 w 532"/>
                <a:gd name="T91" fmla="*/ 1137 h 1607"/>
                <a:gd name="T92" fmla="*/ 93 w 532"/>
                <a:gd name="T93" fmla="*/ 1137 h 1607"/>
                <a:gd name="T94" fmla="*/ 93 w 532"/>
                <a:gd name="T95" fmla="*/ 1034 h 1607"/>
                <a:gd name="T96" fmla="*/ 93 w 532"/>
                <a:gd name="T97" fmla="*/ 842 h 1607"/>
                <a:gd name="T98" fmla="*/ 196 w 532"/>
                <a:gd name="T99" fmla="*/ 842 h 1607"/>
                <a:gd name="T100" fmla="*/ 196 w 532"/>
                <a:gd name="T101" fmla="*/ 947 h 1607"/>
                <a:gd name="T102" fmla="*/ 93 w 532"/>
                <a:gd name="T103" fmla="*/ 947 h 1607"/>
                <a:gd name="T104" fmla="*/ 93 w 532"/>
                <a:gd name="T105" fmla="*/ 842 h 1607"/>
                <a:gd name="T106" fmla="*/ 93 w 532"/>
                <a:gd name="T107" fmla="*/ 652 h 1607"/>
                <a:gd name="T108" fmla="*/ 196 w 532"/>
                <a:gd name="T109" fmla="*/ 652 h 1607"/>
                <a:gd name="T110" fmla="*/ 196 w 532"/>
                <a:gd name="T111" fmla="*/ 755 h 1607"/>
                <a:gd name="T112" fmla="*/ 93 w 532"/>
                <a:gd name="T113" fmla="*/ 755 h 1607"/>
                <a:gd name="T114" fmla="*/ 93 w 532"/>
                <a:gd name="T115" fmla="*/ 652 h 1607"/>
                <a:gd name="T116" fmla="*/ 93 w 532"/>
                <a:gd name="T117" fmla="*/ 460 h 1607"/>
                <a:gd name="T118" fmla="*/ 196 w 532"/>
                <a:gd name="T119" fmla="*/ 460 h 1607"/>
                <a:gd name="T120" fmla="*/ 196 w 532"/>
                <a:gd name="T121" fmla="*/ 566 h 1607"/>
                <a:gd name="T122" fmla="*/ 93 w 532"/>
                <a:gd name="T123" fmla="*/ 566 h 1607"/>
                <a:gd name="T124" fmla="*/ 93 w 532"/>
                <a:gd name="T125" fmla="*/ 46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2" h="1607">
                  <a:moveTo>
                    <a:pt x="0" y="314"/>
                  </a:moveTo>
                  <a:lnTo>
                    <a:pt x="0" y="1607"/>
                  </a:lnTo>
                  <a:lnTo>
                    <a:pt x="532" y="1607"/>
                  </a:lnTo>
                  <a:lnTo>
                    <a:pt x="532" y="314"/>
                  </a:lnTo>
                  <a:lnTo>
                    <a:pt x="347" y="314"/>
                  </a:lnTo>
                  <a:lnTo>
                    <a:pt x="347" y="192"/>
                  </a:lnTo>
                  <a:lnTo>
                    <a:pt x="242" y="192"/>
                  </a:lnTo>
                  <a:lnTo>
                    <a:pt x="242" y="314"/>
                  </a:lnTo>
                  <a:lnTo>
                    <a:pt x="163" y="314"/>
                  </a:lnTo>
                  <a:lnTo>
                    <a:pt x="163" y="0"/>
                  </a:lnTo>
                  <a:lnTo>
                    <a:pt x="55" y="0"/>
                  </a:lnTo>
                  <a:lnTo>
                    <a:pt x="55" y="314"/>
                  </a:lnTo>
                  <a:lnTo>
                    <a:pt x="0" y="314"/>
                  </a:lnTo>
                  <a:close/>
                  <a:moveTo>
                    <a:pt x="335" y="1226"/>
                  </a:moveTo>
                  <a:lnTo>
                    <a:pt x="438" y="1226"/>
                  </a:lnTo>
                  <a:lnTo>
                    <a:pt x="438" y="1329"/>
                  </a:lnTo>
                  <a:lnTo>
                    <a:pt x="335" y="1329"/>
                  </a:lnTo>
                  <a:lnTo>
                    <a:pt x="335" y="1226"/>
                  </a:lnTo>
                  <a:close/>
                  <a:moveTo>
                    <a:pt x="335" y="1034"/>
                  </a:moveTo>
                  <a:lnTo>
                    <a:pt x="438" y="1034"/>
                  </a:lnTo>
                  <a:lnTo>
                    <a:pt x="438" y="1137"/>
                  </a:lnTo>
                  <a:lnTo>
                    <a:pt x="335" y="1137"/>
                  </a:lnTo>
                  <a:lnTo>
                    <a:pt x="335" y="1034"/>
                  </a:lnTo>
                  <a:close/>
                  <a:moveTo>
                    <a:pt x="335" y="842"/>
                  </a:moveTo>
                  <a:lnTo>
                    <a:pt x="438" y="842"/>
                  </a:lnTo>
                  <a:lnTo>
                    <a:pt x="438" y="947"/>
                  </a:lnTo>
                  <a:lnTo>
                    <a:pt x="335" y="947"/>
                  </a:lnTo>
                  <a:lnTo>
                    <a:pt x="335" y="842"/>
                  </a:lnTo>
                  <a:close/>
                  <a:moveTo>
                    <a:pt x="335" y="652"/>
                  </a:moveTo>
                  <a:lnTo>
                    <a:pt x="438" y="652"/>
                  </a:lnTo>
                  <a:lnTo>
                    <a:pt x="438" y="755"/>
                  </a:lnTo>
                  <a:lnTo>
                    <a:pt x="335" y="755"/>
                  </a:lnTo>
                  <a:lnTo>
                    <a:pt x="335" y="652"/>
                  </a:lnTo>
                  <a:close/>
                  <a:moveTo>
                    <a:pt x="335" y="460"/>
                  </a:moveTo>
                  <a:lnTo>
                    <a:pt x="438" y="460"/>
                  </a:lnTo>
                  <a:lnTo>
                    <a:pt x="438" y="566"/>
                  </a:lnTo>
                  <a:lnTo>
                    <a:pt x="335" y="566"/>
                  </a:lnTo>
                  <a:lnTo>
                    <a:pt x="335" y="460"/>
                  </a:lnTo>
                  <a:close/>
                  <a:moveTo>
                    <a:pt x="93" y="1226"/>
                  </a:moveTo>
                  <a:lnTo>
                    <a:pt x="196" y="1226"/>
                  </a:lnTo>
                  <a:lnTo>
                    <a:pt x="196" y="1329"/>
                  </a:lnTo>
                  <a:lnTo>
                    <a:pt x="93" y="1329"/>
                  </a:lnTo>
                  <a:lnTo>
                    <a:pt x="93" y="1226"/>
                  </a:lnTo>
                  <a:close/>
                  <a:moveTo>
                    <a:pt x="93" y="1034"/>
                  </a:moveTo>
                  <a:lnTo>
                    <a:pt x="196" y="1034"/>
                  </a:lnTo>
                  <a:lnTo>
                    <a:pt x="196" y="1137"/>
                  </a:lnTo>
                  <a:lnTo>
                    <a:pt x="93" y="1137"/>
                  </a:lnTo>
                  <a:lnTo>
                    <a:pt x="93" y="1034"/>
                  </a:lnTo>
                  <a:close/>
                  <a:moveTo>
                    <a:pt x="93" y="842"/>
                  </a:moveTo>
                  <a:lnTo>
                    <a:pt x="196" y="842"/>
                  </a:lnTo>
                  <a:lnTo>
                    <a:pt x="196" y="947"/>
                  </a:lnTo>
                  <a:lnTo>
                    <a:pt x="93" y="947"/>
                  </a:lnTo>
                  <a:lnTo>
                    <a:pt x="93" y="842"/>
                  </a:lnTo>
                  <a:close/>
                  <a:moveTo>
                    <a:pt x="93" y="652"/>
                  </a:moveTo>
                  <a:lnTo>
                    <a:pt x="196" y="652"/>
                  </a:lnTo>
                  <a:lnTo>
                    <a:pt x="196" y="755"/>
                  </a:lnTo>
                  <a:lnTo>
                    <a:pt x="93" y="755"/>
                  </a:lnTo>
                  <a:lnTo>
                    <a:pt x="93" y="652"/>
                  </a:lnTo>
                  <a:close/>
                  <a:moveTo>
                    <a:pt x="93" y="460"/>
                  </a:moveTo>
                  <a:lnTo>
                    <a:pt x="196" y="460"/>
                  </a:lnTo>
                  <a:lnTo>
                    <a:pt x="196" y="566"/>
                  </a:lnTo>
                  <a:lnTo>
                    <a:pt x="93" y="566"/>
                  </a:lnTo>
                  <a:lnTo>
                    <a:pt x="93" y="4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41" name="işḻîdê"/>
            <p:cNvSpPr/>
            <p:nvPr/>
          </p:nvSpPr>
          <p:spPr bwMode="auto">
            <a:xfrm>
              <a:off x="3008313" y="2128838"/>
              <a:ext cx="844550" cy="3994150"/>
            </a:xfrm>
            <a:custGeom>
              <a:avLst/>
              <a:gdLst>
                <a:gd name="T0" fmla="*/ 0 w 532"/>
                <a:gd name="T1" fmla="*/ 463 h 2516"/>
                <a:gd name="T2" fmla="*/ 0 w 532"/>
                <a:gd name="T3" fmla="*/ 2516 h 2516"/>
                <a:gd name="T4" fmla="*/ 532 w 532"/>
                <a:gd name="T5" fmla="*/ 2516 h 2516"/>
                <a:gd name="T6" fmla="*/ 532 w 532"/>
                <a:gd name="T7" fmla="*/ 463 h 2516"/>
                <a:gd name="T8" fmla="*/ 258 w 532"/>
                <a:gd name="T9" fmla="*/ 0 h 2516"/>
                <a:gd name="T10" fmla="*/ 0 w 532"/>
                <a:gd name="T11" fmla="*/ 463 h 2516"/>
                <a:gd name="T12" fmla="*/ 371 w 532"/>
                <a:gd name="T13" fmla="*/ 1832 h 2516"/>
                <a:gd name="T14" fmla="*/ 443 w 532"/>
                <a:gd name="T15" fmla="*/ 1832 h 2516"/>
                <a:gd name="T16" fmla="*/ 443 w 532"/>
                <a:gd name="T17" fmla="*/ 2139 h 2516"/>
                <a:gd name="T18" fmla="*/ 371 w 532"/>
                <a:gd name="T19" fmla="*/ 2139 h 2516"/>
                <a:gd name="T20" fmla="*/ 371 w 532"/>
                <a:gd name="T21" fmla="*/ 1832 h 2516"/>
                <a:gd name="T22" fmla="*/ 371 w 532"/>
                <a:gd name="T23" fmla="*/ 1432 h 2516"/>
                <a:gd name="T24" fmla="*/ 443 w 532"/>
                <a:gd name="T25" fmla="*/ 1432 h 2516"/>
                <a:gd name="T26" fmla="*/ 443 w 532"/>
                <a:gd name="T27" fmla="*/ 1739 h 2516"/>
                <a:gd name="T28" fmla="*/ 371 w 532"/>
                <a:gd name="T29" fmla="*/ 1739 h 2516"/>
                <a:gd name="T30" fmla="*/ 371 w 532"/>
                <a:gd name="T31" fmla="*/ 1432 h 2516"/>
                <a:gd name="T32" fmla="*/ 371 w 532"/>
                <a:gd name="T33" fmla="*/ 630 h 2516"/>
                <a:gd name="T34" fmla="*/ 443 w 532"/>
                <a:gd name="T35" fmla="*/ 630 h 2516"/>
                <a:gd name="T36" fmla="*/ 443 w 532"/>
                <a:gd name="T37" fmla="*/ 938 h 2516"/>
                <a:gd name="T38" fmla="*/ 371 w 532"/>
                <a:gd name="T39" fmla="*/ 938 h 2516"/>
                <a:gd name="T40" fmla="*/ 371 w 532"/>
                <a:gd name="T41" fmla="*/ 630 h 2516"/>
                <a:gd name="T42" fmla="*/ 230 w 532"/>
                <a:gd name="T43" fmla="*/ 1832 h 2516"/>
                <a:gd name="T44" fmla="*/ 302 w 532"/>
                <a:gd name="T45" fmla="*/ 1832 h 2516"/>
                <a:gd name="T46" fmla="*/ 302 w 532"/>
                <a:gd name="T47" fmla="*/ 2139 h 2516"/>
                <a:gd name="T48" fmla="*/ 230 w 532"/>
                <a:gd name="T49" fmla="*/ 2139 h 2516"/>
                <a:gd name="T50" fmla="*/ 230 w 532"/>
                <a:gd name="T51" fmla="*/ 1832 h 2516"/>
                <a:gd name="T52" fmla="*/ 230 w 532"/>
                <a:gd name="T53" fmla="*/ 1432 h 2516"/>
                <a:gd name="T54" fmla="*/ 302 w 532"/>
                <a:gd name="T55" fmla="*/ 1432 h 2516"/>
                <a:gd name="T56" fmla="*/ 302 w 532"/>
                <a:gd name="T57" fmla="*/ 1739 h 2516"/>
                <a:gd name="T58" fmla="*/ 230 w 532"/>
                <a:gd name="T59" fmla="*/ 1739 h 2516"/>
                <a:gd name="T60" fmla="*/ 230 w 532"/>
                <a:gd name="T61" fmla="*/ 1432 h 2516"/>
                <a:gd name="T62" fmla="*/ 230 w 532"/>
                <a:gd name="T63" fmla="*/ 1031 h 2516"/>
                <a:gd name="T64" fmla="*/ 302 w 532"/>
                <a:gd name="T65" fmla="*/ 1031 h 2516"/>
                <a:gd name="T66" fmla="*/ 302 w 532"/>
                <a:gd name="T67" fmla="*/ 1338 h 2516"/>
                <a:gd name="T68" fmla="*/ 230 w 532"/>
                <a:gd name="T69" fmla="*/ 1338 h 2516"/>
                <a:gd name="T70" fmla="*/ 230 w 532"/>
                <a:gd name="T71" fmla="*/ 1031 h 2516"/>
                <a:gd name="T72" fmla="*/ 230 w 532"/>
                <a:gd name="T73" fmla="*/ 630 h 2516"/>
                <a:gd name="T74" fmla="*/ 302 w 532"/>
                <a:gd name="T75" fmla="*/ 630 h 2516"/>
                <a:gd name="T76" fmla="*/ 302 w 532"/>
                <a:gd name="T77" fmla="*/ 938 h 2516"/>
                <a:gd name="T78" fmla="*/ 230 w 532"/>
                <a:gd name="T79" fmla="*/ 938 h 2516"/>
                <a:gd name="T80" fmla="*/ 230 w 532"/>
                <a:gd name="T81" fmla="*/ 630 h 2516"/>
                <a:gd name="T82" fmla="*/ 88 w 532"/>
                <a:gd name="T83" fmla="*/ 1832 h 2516"/>
                <a:gd name="T84" fmla="*/ 160 w 532"/>
                <a:gd name="T85" fmla="*/ 1832 h 2516"/>
                <a:gd name="T86" fmla="*/ 160 w 532"/>
                <a:gd name="T87" fmla="*/ 2139 h 2516"/>
                <a:gd name="T88" fmla="*/ 88 w 532"/>
                <a:gd name="T89" fmla="*/ 2139 h 2516"/>
                <a:gd name="T90" fmla="*/ 88 w 532"/>
                <a:gd name="T91" fmla="*/ 1832 h 2516"/>
                <a:gd name="T92" fmla="*/ 88 w 532"/>
                <a:gd name="T93" fmla="*/ 1031 h 2516"/>
                <a:gd name="T94" fmla="*/ 160 w 532"/>
                <a:gd name="T95" fmla="*/ 1031 h 2516"/>
                <a:gd name="T96" fmla="*/ 160 w 532"/>
                <a:gd name="T97" fmla="*/ 1338 h 2516"/>
                <a:gd name="T98" fmla="*/ 88 w 532"/>
                <a:gd name="T99" fmla="*/ 1338 h 2516"/>
                <a:gd name="T100" fmla="*/ 88 w 532"/>
                <a:gd name="T101" fmla="*/ 1031 h 2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32" h="2516">
                  <a:moveTo>
                    <a:pt x="0" y="463"/>
                  </a:moveTo>
                  <a:lnTo>
                    <a:pt x="0" y="2516"/>
                  </a:lnTo>
                  <a:lnTo>
                    <a:pt x="532" y="2516"/>
                  </a:lnTo>
                  <a:lnTo>
                    <a:pt x="532" y="463"/>
                  </a:lnTo>
                  <a:lnTo>
                    <a:pt x="258" y="0"/>
                  </a:lnTo>
                  <a:lnTo>
                    <a:pt x="0" y="463"/>
                  </a:lnTo>
                  <a:close/>
                  <a:moveTo>
                    <a:pt x="371" y="1832"/>
                  </a:moveTo>
                  <a:lnTo>
                    <a:pt x="443" y="1832"/>
                  </a:lnTo>
                  <a:lnTo>
                    <a:pt x="443" y="2139"/>
                  </a:lnTo>
                  <a:lnTo>
                    <a:pt x="371" y="2139"/>
                  </a:lnTo>
                  <a:lnTo>
                    <a:pt x="371" y="1832"/>
                  </a:lnTo>
                  <a:close/>
                  <a:moveTo>
                    <a:pt x="371" y="1432"/>
                  </a:moveTo>
                  <a:lnTo>
                    <a:pt x="443" y="1432"/>
                  </a:lnTo>
                  <a:lnTo>
                    <a:pt x="443" y="1739"/>
                  </a:lnTo>
                  <a:lnTo>
                    <a:pt x="371" y="1739"/>
                  </a:lnTo>
                  <a:lnTo>
                    <a:pt x="371" y="1432"/>
                  </a:lnTo>
                  <a:close/>
                  <a:moveTo>
                    <a:pt x="371" y="630"/>
                  </a:moveTo>
                  <a:lnTo>
                    <a:pt x="443" y="630"/>
                  </a:lnTo>
                  <a:lnTo>
                    <a:pt x="443" y="938"/>
                  </a:lnTo>
                  <a:lnTo>
                    <a:pt x="371" y="938"/>
                  </a:lnTo>
                  <a:lnTo>
                    <a:pt x="371" y="630"/>
                  </a:lnTo>
                  <a:close/>
                  <a:moveTo>
                    <a:pt x="230" y="1832"/>
                  </a:moveTo>
                  <a:lnTo>
                    <a:pt x="302" y="1832"/>
                  </a:lnTo>
                  <a:lnTo>
                    <a:pt x="302" y="2139"/>
                  </a:lnTo>
                  <a:lnTo>
                    <a:pt x="230" y="2139"/>
                  </a:lnTo>
                  <a:lnTo>
                    <a:pt x="230" y="1832"/>
                  </a:lnTo>
                  <a:close/>
                  <a:moveTo>
                    <a:pt x="230" y="1432"/>
                  </a:moveTo>
                  <a:lnTo>
                    <a:pt x="302" y="1432"/>
                  </a:lnTo>
                  <a:lnTo>
                    <a:pt x="302" y="1739"/>
                  </a:lnTo>
                  <a:lnTo>
                    <a:pt x="230" y="1739"/>
                  </a:lnTo>
                  <a:lnTo>
                    <a:pt x="230" y="1432"/>
                  </a:lnTo>
                  <a:close/>
                  <a:moveTo>
                    <a:pt x="230" y="1031"/>
                  </a:moveTo>
                  <a:lnTo>
                    <a:pt x="302" y="1031"/>
                  </a:lnTo>
                  <a:lnTo>
                    <a:pt x="302" y="1338"/>
                  </a:lnTo>
                  <a:lnTo>
                    <a:pt x="230" y="1338"/>
                  </a:lnTo>
                  <a:lnTo>
                    <a:pt x="230" y="1031"/>
                  </a:lnTo>
                  <a:close/>
                  <a:moveTo>
                    <a:pt x="230" y="630"/>
                  </a:moveTo>
                  <a:lnTo>
                    <a:pt x="302" y="630"/>
                  </a:lnTo>
                  <a:lnTo>
                    <a:pt x="302" y="938"/>
                  </a:lnTo>
                  <a:lnTo>
                    <a:pt x="230" y="938"/>
                  </a:lnTo>
                  <a:lnTo>
                    <a:pt x="230" y="630"/>
                  </a:lnTo>
                  <a:close/>
                  <a:moveTo>
                    <a:pt x="88" y="1832"/>
                  </a:moveTo>
                  <a:lnTo>
                    <a:pt x="160" y="1832"/>
                  </a:lnTo>
                  <a:lnTo>
                    <a:pt x="160" y="2139"/>
                  </a:lnTo>
                  <a:lnTo>
                    <a:pt x="88" y="2139"/>
                  </a:lnTo>
                  <a:lnTo>
                    <a:pt x="88" y="1832"/>
                  </a:lnTo>
                  <a:close/>
                  <a:moveTo>
                    <a:pt x="88" y="1031"/>
                  </a:moveTo>
                  <a:lnTo>
                    <a:pt x="160" y="1031"/>
                  </a:lnTo>
                  <a:lnTo>
                    <a:pt x="160" y="1338"/>
                  </a:lnTo>
                  <a:lnTo>
                    <a:pt x="88" y="1338"/>
                  </a:lnTo>
                  <a:lnTo>
                    <a:pt x="88" y="10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42" name="îṡḻïḍê"/>
            <p:cNvSpPr/>
            <p:nvPr/>
          </p:nvSpPr>
          <p:spPr bwMode="auto">
            <a:xfrm>
              <a:off x="2041526" y="3784600"/>
              <a:ext cx="844550" cy="2338388"/>
            </a:xfrm>
            <a:custGeom>
              <a:avLst/>
              <a:gdLst>
                <a:gd name="T0" fmla="*/ 0 w 532"/>
                <a:gd name="T1" fmla="*/ 384 h 1473"/>
                <a:gd name="T2" fmla="*/ 0 w 532"/>
                <a:gd name="T3" fmla="*/ 1473 h 1473"/>
                <a:gd name="T4" fmla="*/ 532 w 532"/>
                <a:gd name="T5" fmla="*/ 1473 h 1473"/>
                <a:gd name="T6" fmla="*/ 532 w 532"/>
                <a:gd name="T7" fmla="*/ 384 h 1473"/>
                <a:gd name="T8" fmla="*/ 465 w 532"/>
                <a:gd name="T9" fmla="*/ 384 h 1473"/>
                <a:gd name="T10" fmla="*/ 465 w 532"/>
                <a:gd name="T11" fmla="*/ 283 h 1473"/>
                <a:gd name="T12" fmla="*/ 388 w 532"/>
                <a:gd name="T13" fmla="*/ 283 h 1473"/>
                <a:gd name="T14" fmla="*/ 388 w 532"/>
                <a:gd name="T15" fmla="*/ 0 h 1473"/>
                <a:gd name="T16" fmla="*/ 143 w 532"/>
                <a:gd name="T17" fmla="*/ 0 h 1473"/>
                <a:gd name="T18" fmla="*/ 143 w 532"/>
                <a:gd name="T19" fmla="*/ 283 h 1473"/>
                <a:gd name="T20" fmla="*/ 67 w 532"/>
                <a:gd name="T21" fmla="*/ 283 h 1473"/>
                <a:gd name="T22" fmla="*/ 67 w 532"/>
                <a:gd name="T23" fmla="*/ 384 h 1473"/>
                <a:gd name="T24" fmla="*/ 0 w 532"/>
                <a:gd name="T25" fmla="*/ 384 h 1473"/>
                <a:gd name="T26" fmla="*/ 362 w 532"/>
                <a:gd name="T27" fmla="*/ 1029 h 1473"/>
                <a:gd name="T28" fmla="*/ 457 w 532"/>
                <a:gd name="T29" fmla="*/ 1029 h 1473"/>
                <a:gd name="T30" fmla="*/ 457 w 532"/>
                <a:gd name="T31" fmla="*/ 1137 h 1473"/>
                <a:gd name="T32" fmla="*/ 362 w 532"/>
                <a:gd name="T33" fmla="*/ 1137 h 1473"/>
                <a:gd name="T34" fmla="*/ 362 w 532"/>
                <a:gd name="T35" fmla="*/ 1029 h 1473"/>
                <a:gd name="T36" fmla="*/ 362 w 532"/>
                <a:gd name="T37" fmla="*/ 681 h 1473"/>
                <a:gd name="T38" fmla="*/ 457 w 532"/>
                <a:gd name="T39" fmla="*/ 681 h 1473"/>
                <a:gd name="T40" fmla="*/ 457 w 532"/>
                <a:gd name="T41" fmla="*/ 792 h 1473"/>
                <a:gd name="T42" fmla="*/ 362 w 532"/>
                <a:gd name="T43" fmla="*/ 792 h 1473"/>
                <a:gd name="T44" fmla="*/ 362 w 532"/>
                <a:gd name="T45" fmla="*/ 681 h 1473"/>
                <a:gd name="T46" fmla="*/ 362 w 532"/>
                <a:gd name="T47" fmla="*/ 509 h 1473"/>
                <a:gd name="T48" fmla="*/ 457 w 532"/>
                <a:gd name="T49" fmla="*/ 509 h 1473"/>
                <a:gd name="T50" fmla="*/ 457 w 532"/>
                <a:gd name="T51" fmla="*/ 619 h 1473"/>
                <a:gd name="T52" fmla="*/ 362 w 532"/>
                <a:gd name="T53" fmla="*/ 619 h 1473"/>
                <a:gd name="T54" fmla="*/ 362 w 532"/>
                <a:gd name="T55" fmla="*/ 509 h 1473"/>
                <a:gd name="T56" fmla="*/ 218 w 532"/>
                <a:gd name="T57" fmla="*/ 854 h 1473"/>
                <a:gd name="T58" fmla="*/ 314 w 532"/>
                <a:gd name="T59" fmla="*/ 854 h 1473"/>
                <a:gd name="T60" fmla="*/ 314 w 532"/>
                <a:gd name="T61" fmla="*/ 964 h 1473"/>
                <a:gd name="T62" fmla="*/ 218 w 532"/>
                <a:gd name="T63" fmla="*/ 964 h 1473"/>
                <a:gd name="T64" fmla="*/ 218 w 532"/>
                <a:gd name="T65" fmla="*/ 854 h 1473"/>
                <a:gd name="T66" fmla="*/ 218 w 532"/>
                <a:gd name="T67" fmla="*/ 681 h 1473"/>
                <a:gd name="T68" fmla="*/ 314 w 532"/>
                <a:gd name="T69" fmla="*/ 681 h 1473"/>
                <a:gd name="T70" fmla="*/ 314 w 532"/>
                <a:gd name="T71" fmla="*/ 792 h 1473"/>
                <a:gd name="T72" fmla="*/ 218 w 532"/>
                <a:gd name="T73" fmla="*/ 792 h 1473"/>
                <a:gd name="T74" fmla="*/ 218 w 532"/>
                <a:gd name="T75" fmla="*/ 681 h 1473"/>
                <a:gd name="T76" fmla="*/ 218 w 532"/>
                <a:gd name="T77" fmla="*/ 509 h 1473"/>
                <a:gd name="T78" fmla="*/ 314 w 532"/>
                <a:gd name="T79" fmla="*/ 509 h 1473"/>
                <a:gd name="T80" fmla="*/ 314 w 532"/>
                <a:gd name="T81" fmla="*/ 619 h 1473"/>
                <a:gd name="T82" fmla="*/ 218 w 532"/>
                <a:gd name="T83" fmla="*/ 619 h 1473"/>
                <a:gd name="T84" fmla="*/ 218 w 532"/>
                <a:gd name="T85" fmla="*/ 509 h 1473"/>
                <a:gd name="T86" fmla="*/ 74 w 532"/>
                <a:gd name="T87" fmla="*/ 1029 h 1473"/>
                <a:gd name="T88" fmla="*/ 170 w 532"/>
                <a:gd name="T89" fmla="*/ 1029 h 1473"/>
                <a:gd name="T90" fmla="*/ 170 w 532"/>
                <a:gd name="T91" fmla="*/ 1137 h 1473"/>
                <a:gd name="T92" fmla="*/ 74 w 532"/>
                <a:gd name="T93" fmla="*/ 1137 h 1473"/>
                <a:gd name="T94" fmla="*/ 74 w 532"/>
                <a:gd name="T95" fmla="*/ 1029 h 1473"/>
                <a:gd name="T96" fmla="*/ 74 w 532"/>
                <a:gd name="T97" fmla="*/ 854 h 1473"/>
                <a:gd name="T98" fmla="*/ 170 w 532"/>
                <a:gd name="T99" fmla="*/ 854 h 1473"/>
                <a:gd name="T100" fmla="*/ 170 w 532"/>
                <a:gd name="T101" fmla="*/ 964 h 1473"/>
                <a:gd name="T102" fmla="*/ 74 w 532"/>
                <a:gd name="T103" fmla="*/ 964 h 1473"/>
                <a:gd name="T104" fmla="*/ 74 w 532"/>
                <a:gd name="T105" fmla="*/ 854 h 1473"/>
                <a:gd name="T106" fmla="*/ 74 w 532"/>
                <a:gd name="T107" fmla="*/ 681 h 1473"/>
                <a:gd name="T108" fmla="*/ 170 w 532"/>
                <a:gd name="T109" fmla="*/ 681 h 1473"/>
                <a:gd name="T110" fmla="*/ 170 w 532"/>
                <a:gd name="T111" fmla="*/ 792 h 1473"/>
                <a:gd name="T112" fmla="*/ 74 w 532"/>
                <a:gd name="T113" fmla="*/ 792 h 1473"/>
                <a:gd name="T114" fmla="*/ 74 w 532"/>
                <a:gd name="T115" fmla="*/ 681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2" h="1473">
                  <a:moveTo>
                    <a:pt x="0" y="384"/>
                  </a:moveTo>
                  <a:lnTo>
                    <a:pt x="0" y="1473"/>
                  </a:lnTo>
                  <a:lnTo>
                    <a:pt x="532" y="1473"/>
                  </a:lnTo>
                  <a:lnTo>
                    <a:pt x="532" y="384"/>
                  </a:lnTo>
                  <a:lnTo>
                    <a:pt x="465" y="384"/>
                  </a:lnTo>
                  <a:lnTo>
                    <a:pt x="465" y="283"/>
                  </a:lnTo>
                  <a:lnTo>
                    <a:pt x="388" y="283"/>
                  </a:lnTo>
                  <a:lnTo>
                    <a:pt x="388" y="0"/>
                  </a:lnTo>
                  <a:lnTo>
                    <a:pt x="143" y="0"/>
                  </a:lnTo>
                  <a:lnTo>
                    <a:pt x="143" y="283"/>
                  </a:lnTo>
                  <a:lnTo>
                    <a:pt x="67" y="283"/>
                  </a:lnTo>
                  <a:lnTo>
                    <a:pt x="67" y="384"/>
                  </a:lnTo>
                  <a:lnTo>
                    <a:pt x="0" y="384"/>
                  </a:lnTo>
                  <a:close/>
                  <a:moveTo>
                    <a:pt x="362" y="1029"/>
                  </a:moveTo>
                  <a:lnTo>
                    <a:pt x="457" y="1029"/>
                  </a:lnTo>
                  <a:lnTo>
                    <a:pt x="457" y="1137"/>
                  </a:lnTo>
                  <a:lnTo>
                    <a:pt x="362" y="1137"/>
                  </a:lnTo>
                  <a:lnTo>
                    <a:pt x="362" y="1029"/>
                  </a:lnTo>
                  <a:close/>
                  <a:moveTo>
                    <a:pt x="362" y="681"/>
                  </a:moveTo>
                  <a:lnTo>
                    <a:pt x="457" y="681"/>
                  </a:lnTo>
                  <a:lnTo>
                    <a:pt x="457" y="792"/>
                  </a:lnTo>
                  <a:lnTo>
                    <a:pt x="362" y="792"/>
                  </a:lnTo>
                  <a:lnTo>
                    <a:pt x="362" y="681"/>
                  </a:lnTo>
                  <a:close/>
                  <a:moveTo>
                    <a:pt x="362" y="509"/>
                  </a:moveTo>
                  <a:lnTo>
                    <a:pt x="457" y="509"/>
                  </a:lnTo>
                  <a:lnTo>
                    <a:pt x="457" y="619"/>
                  </a:lnTo>
                  <a:lnTo>
                    <a:pt x="362" y="619"/>
                  </a:lnTo>
                  <a:lnTo>
                    <a:pt x="362" y="509"/>
                  </a:lnTo>
                  <a:close/>
                  <a:moveTo>
                    <a:pt x="218" y="854"/>
                  </a:moveTo>
                  <a:lnTo>
                    <a:pt x="314" y="854"/>
                  </a:lnTo>
                  <a:lnTo>
                    <a:pt x="314" y="964"/>
                  </a:lnTo>
                  <a:lnTo>
                    <a:pt x="218" y="964"/>
                  </a:lnTo>
                  <a:lnTo>
                    <a:pt x="218" y="854"/>
                  </a:lnTo>
                  <a:close/>
                  <a:moveTo>
                    <a:pt x="218" y="681"/>
                  </a:moveTo>
                  <a:lnTo>
                    <a:pt x="314" y="681"/>
                  </a:lnTo>
                  <a:lnTo>
                    <a:pt x="314" y="792"/>
                  </a:lnTo>
                  <a:lnTo>
                    <a:pt x="218" y="792"/>
                  </a:lnTo>
                  <a:lnTo>
                    <a:pt x="218" y="681"/>
                  </a:lnTo>
                  <a:close/>
                  <a:moveTo>
                    <a:pt x="218" y="509"/>
                  </a:moveTo>
                  <a:lnTo>
                    <a:pt x="314" y="509"/>
                  </a:lnTo>
                  <a:lnTo>
                    <a:pt x="314" y="619"/>
                  </a:lnTo>
                  <a:lnTo>
                    <a:pt x="218" y="619"/>
                  </a:lnTo>
                  <a:lnTo>
                    <a:pt x="218" y="509"/>
                  </a:lnTo>
                  <a:close/>
                  <a:moveTo>
                    <a:pt x="74" y="1029"/>
                  </a:moveTo>
                  <a:lnTo>
                    <a:pt x="170" y="1029"/>
                  </a:lnTo>
                  <a:lnTo>
                    <a:pt x="170" y="1137"/>
                  </a:lnTo>
                  <a:lnTo>
                    <a:pt x="74" y="1137"/>
                  </a:lnTo>
                  <a:lnTo>
                    <a:pt x="74" y="1029"/>
                  </a:lnTo>
                  <a:close/>
                  <a:moveTo>
                    <a:pt x="74" y="854"/>
                  </a:moveTo>
                  <a:lnTo>
                    <a:pt x="170" y="854"/>
                  </a:lnTo>
                  <a:lnTo>
                    <a:pt x="170" y="964"/>
                  </a:lnTo>
                  <a:lnTo>
                    <a:pt x="74" y="964"/>
                  </a:lnTo>
                  <a:lnTo>
                    <a:pt x="74" y="854"/>
                  </a:lnTo>
                  <a:close/>
                  <a:moveTo>
                    <a:pt x="74" y="681"/>
                  </a:moveTo>
                  <a:lnTo>
                    <a:pt x="170" y="681"/>
                  </a:lnTo>
                  <a:lnTo>
                    <a:pt x="170" y="792"/>
                  </a:lnTo>
                  <a:lnTo>
                    <a:pt x="74" y="792"/>
                  </a:lnTo>
                  <a:lnTo>
                    <a:pt x="74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43" name="iṧlïḋe"/>
            <p:cNvSpPr/>
            <p:nvPr/>
          </p:nvSpPr>
          <p:spPr bwMode="auto">
            <a:xfrm>
              <a:off x="4940301" y="3128963"/>
              <a:ext cx="846138" cy="2994025"/>
            </a:xfrm>
            <a:custGeom>
              <a:avLst/>
              <a:gdLst>
                <a:gd name="T0" fmla="*/ 0 w 533"/>
                <a:gd name="T1" fmla="*/ 1886 h 1886"/>
                <a:gd name="T2" fmla="*/ 533 w 533"/>
                <a:gd name="T3" fmla="*/ 92 h 1886"/>
                <a:gd name="T4" fmla="*/ 487 w 533"/>
                <a:gd name="T5" fmla="*/ 0 h 1886"/>
                <a:gd name="T6" fmla="*/ 202 w 533"/>
                <a:gd name="T7" fmla="*/ 92 h 1886"/>
                <a:gd name="T8" fmla="*/ 310 w 533"/>
                <a:gd name="T9" fmla="*/ 1466 h 1886"/>
                <a:gd name="T10" fmla="*/ 456 w 533"/>
                <a:gd name="T11" fmla="*/ 1517 h 1886"/>
                <a:gd name="T12" fmla="*/ 310 w 533"/>
                <a:gd name="T13" fmla="*/ 1466 h 1886"/>
                <a:gd name="T14" fmla="*/ 456 w 533"/>
                <a:gd name="T15" fmla="*/ 1346 h 1886"/>
                <a:gd name="T16" fmla="*/ 310 w 533"/>
                <a:gd name="T17" fmla="*/ 1397 h 1886"/>
                <a:gd name="T18" fmla="*/ 310 w 533"/>
                <a:gd name="T19" fmla="*/ 1226 h 1886"/>
                <a:gd name="T20" fmla="*/ 456 w 533"/>
                <a:gd name="T21" fmla="*/ 1277 h 1886"/>
                <a:gd name="T22" fmla="*/ 310 w 533"/>
                <a:gd name="T23" fmla="*/ 1226 h 1886"/>
                <a:gd name="T24" fmla="*/ 456 w 533"/>
                <a:gd name="T25" fmla="*/ 1106 h 1886"/>
                <a:gd name="T26" fmla="*/ 310 w 533"/>
                <a:gd name="T27" fmla="*/ 1157 h 1886"/>
                <a:gd name="T28" fmla="*/ 310 w 533"/>
                <a:gd name="T29" fmla="*/ 866 h 1886"/>
                <a:gd name="T30" fmla="*/ 456 w 533"/>
                <a:gd name="T31" fmla="*/ 917 h 1886"/>
                <a:gd name="T32" fmla="*/ 310 w 533"/>
                <a:gd name="T33" fmla="*/ 866 h 1886"/>
                <a:gd name="T34" fmla="*/ 456 w 533"/>
                <a:gd name="T35" fmla="*/ 747 h 1886"/>
                <a:gd name="T36" fmla="*/ 310 w 533"/>
                <a:gd name="T37" fmla="*/ 797 h 1886"/>
                <a:gd name="T38" fmla="*/ 310 w 533"/>
                <a:gd name="T39" fmla="*/ 627 h 1886"/>
                <a:gd name="T40" fmla="*/ 456 w 533"/>
                <a:gd name="T41" fmla="*/ 677 h 1886"/>
                <a:gd name="T42" fmla="*/ 310 w 533"/>
                <a:gd name="T43" fmla="*/ 627 h 1886"/>
                <a:gd name="T44" fmla="*/ 456 w 533"/>
                <a:gd name="T45" fmla="*/ 507 h 1886"/>
                <a:gd name="T46" fmla="*/ 310 w 533"/>
                <a:gd name="T47" fmla="*/ 557 h 1886"/>
                <a:gd name="T48" fmla="*/ 310 w 533"/>
                <a:gd name="T49" fmla="*/ 267 h 1886"/>
                <a:gd name="T50" fmla="*/ 456 w 533"/>
                <a:gd name="T51" fmla="*/ 317 h 1886"/>
                <a:gd name="T52" fmla="*/ 310 w 533"/>
                <a:gd name="T53" fmla="*/ 267 h 1886"/>
                <a:gd name="T54" fmla="*/ 223 w 533"/>
                <a:gd name="T55" fmla="*/ 1586 h 1886"/>
                <a:gd name="T56" fmla="*/ 77 w 533"/>
                <a:gd name="T57" fmla="*/ 1637 h 1886"/>
                <a:gd name="T58" fmla="*/ 77 w 533"/>
                <a:gd name="T59" fmla="*/ 1466 h 1886"/>
                <a:gd name="T60" fmla="*/ 223 w 533"/>
                <a:gd name="T61" fmla="*/ 1517 h 1886"/>
                <a:gd name="T62" fmla="*/ 77 w 533"/>
                <a:gd name="T63" fmla="*/ 1466 h 1886"/>
                <a:gd name="T64" fmla="*/ 223 w 533"/>
                <a:gd name="T65" fmla="*/ 1226 h 1886"/>
                <a:gd name="T66" fmla="*/ 77 w 533"/>
                <a:gd name="T67" fmla="*/ 1277 h 1886"/>
                <a:gd name="T68" fmla="*/ 77 w 533"/>
                <a:gd name="T69" fmla="*/ 986 h 1886"/>
                <a:gd name="T70" fmla="*/ 223 w 533"/>
                <a:gd name="T71" fmla="*/ 1037 h 1886"/>
                <a:gd name="T72" fmla="*/ 77 w 533"/>
                <a:gd name="T73" fmla="*/ 986 h 1886"/>
                <a:gd name="T74" fmla="*/ 223 w 533"/>
                <a:gd name="T75" fmla="*/ 866 h 1886"/>
                <a:gd name="T76" fmla="*/ 77 w 533"/>
                <a:gd name="T77" fmla="*/ 917 h 1886"/>
                <a:gd name="T78" fmla="*/ 77 w 533"/>
                <a:gd name="T79" fmla="*/ 627 h 1886"/>
                <a:gd name="T80" fmla="*/ 223 w 533"/>
                <a:gd name="T81" fmla="*/ 677 h 1886"/>
                <a:gd name="T82" fmla="*/ 77 w 533"/>
                <a:gd name="T83" fmla="*/ 627 h 1886"/>
                <a:gd name="T84" fmla="*/ 223 w 533"/>
                <a:gd name="T85" fmla="*/ 387 h 1886"/>
                <a:gd name="T86" fmla="*/ 77 w 533"/>
                <a:gd name="T87" fmla="*/ 437 h 1886"/>
                <a:gd name="T88" fmla="*/ 77 w 533"/>
                <a:gd name="T89" fmla="*/ 267 h 1886"/>
                <a:gd name="T90" fmla="*/ 223 w 533"/>
                <a:gd name="T91" fmla="*/ 317 h 1886"/>
                <a:gd name="T92" fmla="*/ 77 w 533"/>
                <a:gd name="T93" fmla="*/ 267 h 1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3" h="1886">
                  <a:moveTo>
                    <a:pt x="0" y="92"/>
                  </a:moveTo>
                  <a:lnTo>
                    <a:pt x="0" y="1886"/>
                  </a:lnTo>
                  <a:lnTo>
                    <a:pt x="533" y="1886"/>
                  </a:lnTo>
                  <a:lnTo>
                    <a:pt x="533" y="92"/>
                  </a:lnTo>
                  <a:lnTo>
                    <a:pt x="487" y="92"/>
                  </a:lnTo>
                  <a:lnTo>
                    <a:pt x="487" y="0"/>
                  </a:lnTo>
                  <a:lnTo>
                    <a:pt x="202" y="0"/>
                  </a:lnTo>
                  <a:lnTo>
                    <a:pt x="202" y="92"/>
                  </a:lnTo>
                  <a:lnTo>
                    <a:pt x="0" y="92"/>
                  </a:lnTo>
                  <a:close/>
                  <a:moveTo>
                    <a:pt x="310" y="1466"/>
                  </a:moveTo>
                  <a:lnTo>
                    <a:pt x="456" y="1466"/>
                  </a:lnTo>
                  <a:lnTo>
                    <a:pt x="456" y="1517"/>
                  </a:lnTo>
                  <a:lnTo>
                    <a:pt x="310" y="1517"/>
                  </a:lnTo>
                  <a:lnTo>
                    <a:pt x="310" y="1466"/>
                  </a:lnTo>
                  <a:close/>
                  <a:moveTo>
                    <a:pt x="310" y="1346"/>
                  </a:moveTo>
                  <a:lnTo>
                    <a:pt x="456" y="1346"/>
                  </a:lnTo>
                  <a:lnTo>
                    <a:pt x="456" y="1397"/>
                  </a:lnTo>
                  <a:lnTo>
                    <a:pt x="310" y="1397"/>
                  </a:lnTo>
                  <a:lnTo>
                    <a:pt x="310" y="1346"/>
                  </a:lnTo>
                  <a:close/>
                  <a:moveTo>
                    <a:pt x="310" y="1226"/>
                  </a:moveTo>
                  <a:lnTo>
                    <a:pt x="456" y="1226"/>
                  </a:lnTo>
                  <a:lnTo>
                    <a:pt x="456" y="1277"/>
                  </a:lnTo>
                  <a:lnTo>
                    <a:pt x="310" y="1277"/>
                  </a:lnTo>
                  <a:lnTo>
                    <a:pt x="310" y="1226"/>
                  </a:lnTo>
                  <a:close/>
                  <a:moveTo>
                    <a:pt x="310" y="1106"/>
                  </a:moveTo>
                  <a:lnTo>
                    <a:pt x="456" y="1106"/>
                  </a:lnTo>
                  <a:lnTo>
                    <a:pt x="456" y="1157"/>
                  </a:lnTo>
                  <a:lnTo>
                    <a:pt x="310" y="1157"/>
                  </a:lnTo>
                  <a:lnTo>
                    <a:pt x="310" y="1106"/>
                  </a:lnTo>
                  <a:close/>
                  <a:moveTo>
                    <a:pt x="310" y="866"/>
                  </a:moveTo>
                  <a:lnTo>
                    <a:pt x="456" y="866"/>
                  </a:lnTo>
                  <a:lnTo>
                    <a:pt x="456" y="917"/>
                  </a:lnTo>
                  <a:lnTo>
                    <a:pt x="310" y="917"/>
                  </a:lnTo>
                  <a:lnTo>
                    <a:pt x="310" y="866"/>
                  </a:lnTo>
                  <a:close/>
                  <a:moveTo>
                    <a:pt x="310" y="747"/>
                  </a:moveTo>
                  <a:lnTo>
                    <a:pt x="456" y="747"/>
                  </a:lnTo>
                  <a:lnTo>
                    <a:pt x="456" y="797"/>
                  </a:lnTo>
                  <a:lnTo>
                    <a:pt x="310" y="797"/>
                  </a:lnTo>
                  <a:lnTo>
                    <a:pt x="310" y="747"/>
                  </a:lnTo>
                  <a:close/>
                  <a:moveTo>
                    <a:pt x="310" y="627"/>
                  </a:moveTo>
                  <a:lnTo>
                    <a:pt x="456" y="627"/>
                  </a:lnTo>
                  <a:lnTo>
                    <a:pt x="456" y="677"/>
                  </a:lnTo>
                  <a:lnTo>
                    <a:pt x="310" y="677"/>
                  </a:lnTo>
                  <a:lnTo>
                    <a:pt x="310" y="627"/>
                  </a:lnTo>
                  <a:close/>
                  <a:moveTo>
                    <a:pt x="310" y="507"/>
                  </a:moveTo>
                  <a:lnTo>
                    <a:pt x="456" y="507"/>
                  </a:lnTo>
                  <a:lnTo>
                    <a:pt x="456" y="557"/>
                  </a:lnTo>
                  <a:lnTo>
                    <a:pt x="310" y="557"/>
                  </a:lnTo>
                  <a:lnTo>
                    <a:pt x="310" y="507"/>
                  </a:lnTo>
                  <a:close/>
                  <a:moveTo>
                    <a:pt x="310" y="267"/>
                  </a:moveTo>
                  <a:lnTo>
                    <a:pt x="456" y="267"/>
                  </a:lnTo>
                  <a:lnTo>
                    <a:pt x="456" y="317"/>
                  </a:lnTo>
                  <a:lnTo>
                    <a:pt x="310" y="317"/>
                  </a:lnTo>
                  <a:lnTo>
                    <a:pt x="310" y="267"/>
                  </a:lnTo>
                  <a:close/>
                  <a:moveTo>
                    <a:pt x="77" y="1586"/>
                  </a:moveTo>
                  <a:lnTo>
                    <a:pt x="223" y="1586"/>
                  </a:lnTo>
                  <a:lnTo>
                    <a:pt x="223" y="1637"/>
                  </a:lnTo>
                  <a:lnTo>
                    <a:pt x="77" y="1637"/>
                  </a:lnTo>
                  <a:lnTo>
                    <a:pt x="77" y="1586"/>
                  </a:lnTo>
                  <a:close/>
                  <a:moveTo>
                    <a:pt x="77" y="1466"/>
                  </a:moveTo>
                  <a:lnTo>
                    <a:pt x="223" y="1466"/>
                  </a:lnTo>
                  <a:lnTo>
                    <a:pt x="223" y="1517"/>
                  </a:lnTo>
                  <a:lnTo>
                    <a:pt x="77" y="1517"/>
                  </a:lnTo>
                  <a:lnTo>
                    <a:pt x="77" y="1466"/>
                  </a:lnTo>
                  <a:close/>
                  <a:moveTo>
                    <a:pt x="77" y="1226"/>
                  </a:moveTo>
                  <a:lnTo>
                    <a:pt x="223" y="1226"/>
                  </a:lnTo>
                  <a:lnTo>
                    <a:pt x="223" y="1277"/>
                  </a:lnTo>
                  <a:lnTo>
                    <a:pt x="77" y="1277"/>
                  </a:lnTo>
                  <a:lnTo>
                    <a:pt x="77" y="1226"/>
                  </a:lnTo>
                  <a:close/>
                  <a:moveTo>
                    <a:pt x="77" y="986"/>
                  </a:moveTo>
                  <a:lnTo>
                    <a:pt x="223" y="986"/>
                  </a:lnTo>
                  <a:lnTo>
                    <a:pt x="223" y="1037"/>
                  </a:lnTo>
                  <a:lnTo>
                    <a:pt x="77" y="1037"/>
                  </a:lnTo>
                  <a:lnTo>
                    <a:pt x="77" y="986"/>
                  </a:lnTo>
                  <a:close/>
                  <a:moveTo>
                    <a:pt x="77" y="866"/>
                  </a:moveTo>
                  <a:lnTo>
                    <a:pt x="223" y="866"/>
                  </a:lnTo>
                  <a:lnTo>
                    <a:pt x="223" y="917"/>
                  </a:lnTo>
                  <a:lnTo>
                    <a:pt x="77" y="917"/>
                  </a:lnTo>
                  <a:lnTo>
                    <a:pt x="77" y="866"/>
                  </a:lnTo>
                  <a:close/>
                  <a:moveTo>
                    <a:pt x="77" y="627"/>
                  </a:moveTo>
                  <a:lnTo>
                    <a:pt x="223" y="627"/>
                  </a:lnTo>
                  <a:lnTo>
                    <a:pt x="223" y="677"/>
                  </a:lnTo>
                  <a:lnTo>
                    <a:pt x="77" y="677"/>
                  </a:lnTo>
                  <a:lnTo>
                    <a:pt x="77" y="627"/>
                  </a:lnTo>
                  <a:close/>
                  <a:moveTo>
                    <a:pt x="77" y="387"/>
                  </a:moveTo>
                  <a:lnTo>
                    <a:pt x="223" y="387"/>
                  </a:lnTo>
                  <a:lnTo>
                    <a:pt x="223" y="437"/>
                  </a:lnTo>
                  <a:lnTo>
                    <a:pt x="77" y="437"/>
                  </a:lnTo>
                  <a:lnTo>
                    <a:pt x="77" y="387"/>
                  </a:lnTo>
                  <a:close/>
                  <a:moveTo>
                    <a:pt x="77" y="267"/>
                  </a:moveTo>
                  <a:lnTo>
                    <a:pt x="223" y="267"/>
                  </a:lnTo>
                  <a:lnTo>
                    <a:pt x="223" y="317"/>
                  </a:lnTo>
                  <a:lnTo>
                    <a:pt x="77" y="317"/>
                  </a:lnTo>
                  <a:lnTo>
                    <a:pt x="7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44" name="íS1ïďe"/>
            <p:cNvSpPr/>
            <p:nvPr/>
          </p:nvSpPr>
          <p:spPr bwMode="auto">
            <a:xfrm>
              <a:off x="3973513" y="3460750"/>
              <a:ext cx="846138" cy="2662238"/>
            </a:xfrm>
            <a:custGeom>
              <a:avLst/>
              <a:gdLst>
                <a:gd name="T0" fmla="*/ 0 w 533"/>
                <a:gd name="T1" fmla="*/ 1677 h 1677"/>
                <a:gd name="T2" fmla="*/ 533 w 533"/>
                <a:gd name="T3" fmla="*/ 204 h 1677"/>
                <a:gd name="T4" fmla="*/ 437 w 533"/>
                <a:gd name="T5" fmla="*/ 0 h 1677"/>
                <a:gd name="T6" fmla="*/ 329 w 533"/>
                <a:gd name="T7" fmla="*/ 204 h 1677"/>
                <a:gd name="T8" fmla="*/ 401 w 533"/>
                <a:gd name="T9" fmla="*/ 1252 h 1677"/>
                <a:gd name="T10" fmla="*/ 473 w 533"/>
                <a:gd name="T11" fmla="*/ 1324 h 1677"/>
                <a:gd name="T12" fmla="*/ 401 w 533"/>
                <a:gd name="T13" fmla="*/ 1252 h 1677"/>
                <a:gd name="T14" fmla="*/ 473 w 533"/>
                <a:gd name="T15" fmla="*/ 1104 h 1677"/>
                <a:gd name="T16" fmla="*/ 401 w 533"/>
                <a:gd name="T17" fmla="*/ 1176 h 1677"/>
                <a:gd name="T18" fmla="*/ 401 w 533"/>
                <a:gd name="T19" fmla="*/ 957 h 1677"/>
                <a:gd name="T20" fmla="*/ 473 w 533"/>
                <a:gd name="T21" fmla="*/ 1029 h 1677"/>
                <a:gd name="T22" fmla="*/ 401 w 533"/>
                <a:gd name="T23" fmla="*/ 957 h 1677"/>
                <a:gd name="T24" fmla="*/ 473 w 533"/>
                <a:gd name="T25" fmla="*/ 811 h 1677"/>
                <a:gd name="T26" fmla="*/ 401 w 533"/>
                <a:gd name="T27" fmla="*/ 883 h 1677"/>
                <a:gd name="T28" fmla="*/ 401 w 533"/>
                <a:gd name="T29" fmla="*/ 662 h 1677"/>
                <a:gd name="T30" fmla="*/ 473 w 533"/>
                <a:gd name="T31" fmla="*/ 734 h 1677"/>
                <a:gd name="T32" fmla="*/ 401 w 533"/>
                <a:gd name="T33" fmla="*/ 662 h 1677"/>
                <a:gd name="T34" fmla="*/ 473 w 533"/>
                <a:gd name="T35" fmla="*/ 516 h 1677"/>
                <a:gd name="T36" fmla="*/ 401 w 533"/>
                <a:gd name="T37" fmla="*/ 588 h 1677"/>
                <a:gd name="T38" fmla="*/ 288 w 533"/>
                <a:gd name="T39" fmla="*/ 1104 h 1677"/>
                <a:gd name="T40" fmla="*/ 360 w 533"/>
                <a:gd name="T41" fmla="*/ 1176 h 1677"/>
                <a:gd name="T42" fmla="*/ 288 w 533"/>
                <a:gd name="T43" fmla="*/ 1104 h 1677"/>
                <a:gd name="T44" fmla="*/ 360 w 533"/>
                <a:gd name="T45" fmla="*/ 957 h 1677"/>
                <a:gd name="T46" fmla="*/ 288 w 533"/>
                <a:gd name="T47" fmla="*/ 1029 h 1677"/>
                <a:gd name="T48" fmla="*/ 288 w 533"/>
                <a:gd name="T49" fmla="*/ 662 h 1677"/>
                <a:gd name="T50" fmla="*/ 360 w 533"/>
                <a:gd name="T51" fmla="*/ 734 h 1677"/>
                <a:gd name="T52" fmla="*/ 288 w 533"/>
                <a:gd name="T53" fmla="*/ 662 h 1677"/>
                <a:gd name="T54" fmla="*/ 360 w 533"/>
                <a:gd name="T55" fmla="*/ 516 h 1677"/>
                <a:gd name="T56" fmla="*/ 288 w 533"/>
                <a:gd name="T57" fmla="*/ 588 h 1677"/>
                <a:gd name="T58" fmla="*/ 288 w 533"/>
                <a:gd name="T59" fmla="*/ 370 h 1677"/>
                <a:gd name="T60" fmla="*/ 360 w 533"/>
                <a:gd name="T61" fmla="*/ 442 h 1677"/>
                <a:gd name="T62" fmla="*/ 288 w 533"/>
                <a:gd name="T63" fmla="*/ 370 h 1677"/>
                <a:gd name="T64" fmla="*/ 245 w 533"/>
                <a:gd name="T65" fmla="*/ 1252 h 1677"/>
                <a:gd name="T66" fmla="*/ 173 w 533"/>
                <a:gd name="T67" fmla="*/ 1324 h 1677"/>
                <a:gd name="T68" fmla="*/ 173 w 533"/>
                <a:gd name="T69" fmla="*/ 1104 h 1677"/>
                <a:gd name="T70" fmla="*/ 245 w 533"/>
                <a:gd name="T71" fmla="*/ 1176 h 1677"/>
                <a:gd name="T72" fmla="*/ 173 w 533"/>
                <a:gd name="T73" fmla="*/ 1104 h 1677"/>
                <a:gd name="T74" fmla="*/ 245 w 533"/>
                <a:gd name="T75" fmla="*/ 811 h 1677"/>
                <a:gd name="T76" fmla="*/ 173 w 533"/>
                <a:gd name="T77" fmla="*/ 883 h 1677"/>
                <a:gd name="T78" fmla="*/ 173 w 533"/>
                <a:gd name="T79" fmla="*/ 662 h 1677"/>
                <a:gd name="T80" fmla="*/ 245 w 533"/>
                <a:gd name="T81" fmla="*/ 734 h 1677"/>
                <a:gd name="T82" fmla="*/ 173 w 533"/>
                <a:gd name="T83" fmla="*/ 662 h 1677"/>
                <a:gd name="T84" fmla="*/ 245 w 533"/>
                <a:gd name="T85" fmla="*/ 516 h 1677"/>
                <a:gd name="T86" fmla="*/ 173 w 533"/>
                <a:gd name="T87" fmla="*/ 588 h 1677"/>
                <a:gd name="T88" fmla="*/ 173 w 533"/>
                <a:gd name="T89" fmla="*/ 370 h 1677"/>
                <a:gd name="T90" fmla="*/ 245 w 533"/>
                <a:gd name="T91" fmla="*/ 442 h 1677"/>
                <a:gd name="T92" fmla="*/ 173 w 533"/>
                <a:gd name="T93" fmla="*/ 370 h 1677"/>
                <a:gd name="T94" fmla="*/ 132 w 533"/>
                <a:gd name="T95" fmla="*/ 1252 h 1677"/>
                <a:gd name="T96" fmla="*/ 60 w 533"/>
                <a:gd name="T97" fmla="*/ 1324 h 1677"/>
                <a:gd name="T98" fmla="*/ 60 w 533"/>
                <a:gd name="T99" fmla="*/ 1104 h 1677"/>
                <a:gd name="T100" fmla="*/ 132 w 533"/>
                <a:gd name="T101" fmla="*/ 1176 h 1677"/>
                <a:gd name="T102" fmla="*/ 60 w 533"/>
                <a:gd name="T103" fmla="*/ 1104 h 1677"/>
                <a:gd name="T104" fmla="*/ 132 w 533"/>
                <a:gd name="T105" fmla="*/ 957 h 1677"/>
                <a:gd name="T106" fmla="*/ 60 w 533"/>
                <a:gd name="T107" fmla="*/ 1029 h 1677"/>
                <a:gd name="T108" fmla="*/ 60 w 533"/>
                <a:gd name="T109" fmla="*/ 811 h 1677"/>
                <a:gd name="T110" fmla="*/ 132 w 533"/>
                <a:gd name="T111" fmla="*/ 883 h 1677"/>
                <a:gd name="T112" fmla="*/ 60 w 533"/>
                <a:gd name="T113" fmla="*/ 811 h 1677"/>
                <a:gd name="T114" fmla="*/ 132 w 533"/>
                <a:gd name="T115" fmla="*/ 516 h 1677"/>
                <a:gd name="T116" fmla="*/ 60 w 533"/>
                <a:gd name="T117" fmla="*/ 588 h 1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1677">
                  <a:moveTo>
                    <a:pt x="0" y="204"/>
                  </a:moveTo>
                  <a:lnTo>
                    <a:pt x="0" y="1677"/>
                  </a:lnTo>
                  <a:lnTo>
                    <a:pt x="533" y="1677"/>
                  </a:lnTo>
                  <a:lnTo>
                    <a:pt x="533" y="204"/>
                  </a:lnTo>
                  <a:lnTo>
                    <a:pt x="437" y="204"/>
                  </a:lnTo>
                  <a:lnTo>
                    <a:pt x="437" y="0"/>
                  </a:lnTo>
                  <a:lnTo>
                    <a:pt x="329" y="0"/>
                  </a:lnTo>
                  <a:lnTo>
                    <a:pt x="329" y="204"/>
                  </a:lnTo>
                  <a:lnTo>
                    <a:pt x="0" y="204"/>
                  </a:lnTo>
                  <a:close/>
                  <a:moveTo>
                    <a:pt x="401" y="1252"/>
                  </a:moveTo>
                  <a:lnTo>
                    <a:pt x="473" y="1252"/>
                  </a:lnTo>
                  <a:lnTo>
                    <a:pt x="473" y="1324"/>
                  </a:lnTo>
                  <a:lnTo>
                    <a:pt x="401" y="1324"/>
                  </a:lnTo>
                  <a:lnTo>
                    <a:pt x="401" y="1252"/>
                  </a:lnTo>
                  <a:close/>
                  <a:moveTo>
                    <a:pt x="401" y="1104"/>
                  </a:moveTo>
                  <a:lnTo>
                    <a:pt x="473" y="1104"/>
                  </a:lnTo>
                  <a:lnTo>
                    <a:pt x="473" y="1176"/>
                  </a:lnTo>
                  <a:lnTo>
                    <a:pt x="401" y="1176"/>
                  </a:lnTo>
                  <a:lnTo>
                    <a:pt x="401" y="1104"/>
                  </a:lnTo>
                  <a:close/>
                  <a:moveTo>
                    <a:pt x="401" y="957"/>
                  </a:moveTo>
                  <a:lnTo>
                    <a:pt x="473" y="957"/>
                  </a:lnTo>
                  <a:lnTo>
                    <a:pt x="473" y="1029"/>
                  </a:lnTo>
                  <a:lnTo>
                    <a:pt x="401" y="1029"/>
                  </a:lnTo>
                  <a:lnTo>
                    <a:pt x="401" y="957"/>
                  </a:lnTo>
                  <a:close/>
                  <a:moveTo>
                    <a:pt x="401" y="811"/>
                  </a:moveTo>
                  <a:lnTo>
                    <a:pt x="473" y="811"/>
                  </a:lnTo>
                  <a:lnTo>
                    <a:pt x="473" y="883"/>
                  </a:lnTo>
                  <a:lnTo>
                    <a:pt x="401" y="883"/>
                  </a:lnTo>
                  <a:lnTo>
                    <a:pt x="401" y="811"/>
                  </a:lnTo>
                  <a:close/>
                  <a:moveTo>
                    <a:pt x="401" y="662"/>
                  </a:moveTo>
                  <a:lnTo>
                    <a:pt x="473" y="662"/>
                  </a:lnTo>
                  <a:lnTo>
                    <a:pt x="473" y="734"/>
                  </a:lnTo>
                  <a:lnTo>
                    <a:pt x="401" y="734"/>
                  </a:lnTo>
                  <a:lnTo>
                    <a:pt x="401" y="662"/>
                  </a:lnTo>
                  <a:close/>
                  <a:moveTo>
                    <a:pt x="401" y="516"/>
                  </a:moveTo>
                  <a:lnTo>
                    <a:pt x="473" y="516"/>
                  </a:lnTo>
                  <a:lnTo>
                    <a:pt x="473" y="588"/>
                  </a:lnTo>
                  <a:lnTo>
                    <a:pt x="401" y="588"/>
                  </a:lnTo>
                  <a:lnTo>
                    <a:pt x="401" y="516"/>
                  </a:lnTo>
                  <a:close/>
                  <a:moveTo>
                    <a:pt x="288" y="1104"/>
                  </a:moveTo>
                  <a:lnTo>
                    <a:pt x="360" y="1104"/>
                  </a:lnTo>
                  <a:lnTo>
                    <a:pt x="360" y="1176"/>
                  </a:lnTo>
                  <a:lnTo>
                    <a:pt x="288" y="1176"/>
                  </a:lnTo>
                  <a:lnTo>
                    <a:pt x="288" y="1104"/>
                  </a:lnTo>
                  <a:close/>
                  <a:moveTo>
                    <a:pt x="288" y="957"/>
                  </a:moveTo>
                  <a:lnTo>
                    <a:pt x="360" y="957"/>
                  </a:lnTo>
                  <a:lnTo>
                    <a:pt x="360" y="1029"/>
                  </a:lnTo>
                  <a:lnTo>
                    <a:pt x="288" y="1029"/>
                  </a:lnTo>
                  <a:lnTo>
                    <a:pt x="288" y="957"/>
                  </a:lnTo>
                  <a:close/>
                  <a:moveTo>
                    <a:pt x="288" y="662"/>
                  </a:moveTo>
                  <a:lnTo>
                    <a:pt x="360" y="662"/>
                  </a:lnTo>
                  <a:lnTo>
                    <a:pt x="360" y="734"/>
                  </a:lnTo>
                  <a:lnTo>
                    <a:pt x="288" y="734"/>
                  </a:lnTo>
                  <a:lnTo>
                    <a:pt x="288" y="662"/>
                  </a:lnTo>
                  <a:close/>
                  <a:moveTo>
                    <a:pt x="288" y="516"/>
                  </a:moveTo>
                  <a:lnTo>
                    <a:pt x="360" y="516"/>
                  </a:lnTo>
                  <a:lnTo>
                    <a:pt x="360" y="588"/>
                  </a:lnTo>
                  <a:lnTo>
                    <a:pt x="288" y="588"/>
                  </a:lnTo>
                  <a:lnTo>
                    <a:pt x="288" y="516"/>
                  </a:lnTo>
                  <a:close/>
                  <a:moveTo>
                    <a:pt x="288" y="370"/>
                  </a:moveTo>
                  <a:lnTo>
                    <a:pt x="360" y="370"/>
                  </a:lnTo>
                  <a:lnTo>
                    <a:pt x="360" y="442"/>
                  </a:lnTo>
                  <a:lnTo>
                    <a:pt x="288" y="442"/>
                  </a:lnTo>
                  <a:lnTo>
                    <a:pt x="288" y="370"/>
                  </a:lnTo>
                  <a:close/>
                  <a:moveTo>
                    <a:pt x="173" y="1252"/>
                  </a:moveTo>
                  <a:lnTo>
                    <a:pt x="245" y="1252"/>
                  </a:lnTo>
                  <a:lnTo>
                    <a:pt x="245" y="1324"/>
                  </a:lnTo>
                  <a:lnTo>
                    <a:pt x="173" y="1324"/>
                  </a:lnTo>
                  <a:lnTo>
                    <a:pt x="173" y="1252"/>
                  </a:lnTo>
                  <a:close/>
                  <a:moveTo>
                    <a:pt x="173" y="1104"/>
                  </a:moveTo>
                  <a:lnTo>
                    <a:pt x="245" y="1104"/>
                  </a:lnTo>
                  <a:lnTo>
                    <a:pt x="245" y="1176"/>
                  </a:lnTo>
                  <a:lnTo>
                    <a:pt x="173" y="1176"/>
                  </a:lnTo>
                  <a:lnTo>
                    <a:pt x="173" y="1104"/>
                  </a:lnTo>
                  <a:close/>
                  <a:moveTo>
                    <a:pt x="173" y="811"/>
                  </a:moveTo>
                  <a:lnTo>
                    <a:pt x="245" y="811"/>
                  </a:lnTo>
                  <a:lnTo>
                    <a:pt x="245" y="883"/>
                  </a:lnTo>
                  <a:lnTo>
                    <a:pt x="173" y="883"/>
                  </a:lnTo>
                  <a:lnTo>
                    <a:pt x="173" y="811"/>
                  </a:lnTo>
                  <a:close/>
                  <a:moveTo>
                    <a:pt x="173" y="662"/>
                  </a:moveTo>
                  <a:lnTo>
                    <a:pt x="245" y="662"/>
                  </a:lnTo>
                  <a:lnTo>
                    <a:pt x="245" y="734"/>
                  </a:lnTo>
                  <a:lnTo>
                    <a:pt x="173" y="734"/>
                  </a:lnTo>
                  <a:lnTo>
                    <a:pt x="173" y="662"/>
                  </a:lnTo>
                  <a:close/>
                  <a:moveTo>
                    <a:pt x="173" y="516"/>
                  </a:moveTo>
                  <a:lnTo>
                    <a:pt x="245" y="516"/>
                  </a:lnTo>
                  <a:lnTo>
                    <a:pt x="245" y="588"/>
                  </a:lnTo>
                  <a:lnTo>
                    <a:pt x="173" y="588"/>
                  </a:lnTo>
                  <a:lnTo>
                    <a:pt x="173" y="516"/>
                  </a:lnTo>
                  <a:close/>
                  <a:moveTo>
                    <a:pt x="173" y="370"/>
                  </a:moveTo>
                  <a:lnTo>
                    <a:pt x="245" y="370"/>
                  </a:lnTo>
                  <a:lnTo>
                    <a:pt x="245" y="442"/>
                  </a:lnTo>
                  <a:lnTo>
                    <a:pt x="173" y="442"/>
                  </a:lnTo>
                  <a:lnTo>
                    <a:pt x="173" y="370"/>
                  </a:lnTo>
                  <a:close/>
                  <a:moveTo>
                    <a:pt x="60" y="1252"/>
                  </a:moveTo>
                  <a:lnTo>
                    <a:pt x="132" y="1252"/>
                  </a:lnTo>
                  <a:lnTo>
                    <a:pt x="132" y="1324"/>
                  </a:lnTo>
                  <a:lnTo>
                    <a:pt x="60" y="1324"/>
                  </a:lnTo>
                  <a:lnTo>
                    <a:pt x="60" y="1252"/>
                  </a:lnTo>
                  <a:close/>
                  <a:moveTo>
                    <a:pt x="60" y="1104"/>
                  </a:moveTo>
                  <a:lnTo>
                    <a:pt x="132" y="1104"/>
                  </a:lnTo>
                  <a:lnTo>
                    <a:pt x="132" y="1176"/>
                  </a:lnTo>
                  <a:lnTo>
                    <a:pt x="60" y="1176"/>
                  </a:lnTo>
                  <a:lnTo>
                    <a:pt x="60" y="1104"/>
                  </a:lnTo>
                  <a:close/>
                  <a:moveTo>
                    <a:pt x="60" y="957"/>
                  </a:moveTo>
                  <a:lnTo>
                    <a:pt x="132" y="957"/>
                  </a:lnTo>
                  <a:lnTo>
                    <a:pt x="132" y="1029"/>
                  </a:lnTo>
                  <a:lnTo>
                    <a:pt x="60" y="1029"/>
                  </a:lnTo>
                  <a:lnTo>
                    <a:pt x="60" y="957"/>
                  </a:lnTo>
                  <a:close/>
                  <a:moveTo>
                    <a:pt x="60" y="811"/>
                  </a:moveTo>
                  <a:lnTo>
                    <a:pt x="132" y="811"/>
                  </a:lnTo>
                  <a:lnTo>
                    <a:pt x="132" y="883"/>
                  </a:lnTo>
                  <a:lnTo>
                    <a:pt x="60" y="883"/>
                  </a:lnTo>
                  <a:lnTo>
                    <a:pt x="60" y="811"/>
                  </a:lnTo>
                  <a:close/>
                  <a:moveTo>
                    <a:pt x="60" y="516"/>
                  </a:moveTo>
                  <a:lnTo>
                    <a:pt x="132" y="516"/>
                  </a:lnTo>
                  <a:lnTo>
                    <a:pt x="132" y="588"/>
                  </a:lnTo>
                  <a:lnTo>
                    <a:pt x="60" y="588"/>
                  </a:lnTo>
                  <a:lnTo>
                    <a:pt x="60" y="5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  <p:sp>
          <p:nvSpPr>
            <p:cNvPr id="45" name="í$ḷiďe"/>
            <p:cNvSpPr/>
            <p:nvPr/>
          </p:nvSpPr>
          <p:spPr bwMode="auto">
            <a:xfrm>
              <a:off x="5907088" y="4092575"/>
              <a:ext cx="846138" cy="2030413"/>
            </a:xfrm>
            <a:custGeom>
              <a:avLst/>
              <a:gdLst>
                <a:gd name="T0" fmla="*/ 0 w 533"/>
                <a:gd name="T1" fmla="*/ 224 h 1279"/>
                <a:gd name="T2" fmla="*/ 0 w 533"/>
                <a:gd name="T3" fmla="*/ 1279 h 1279"/>
                <a:gd name="T4" fmla="*/ 533 w 533"/>
                <a:gd name="T5" fmla="*/ 1279 h 1279"/>
                <a:gd name="T6" fmla="*/ 533 w 533"/>
                <a:gd name="T7" fmla="*/ 224 h 1279"/>
                <a:gd name="T8" fmla="*/ 451 w 533"/>
                <a:gd name="T9" fmla="*/ 224 h 1279"/>
                <a:gd name="T10" fmla="*/ 451 w 533"/>
                <a:gd name="T11" fmla="*/ 116 h 1279"/>
                <a:gd name="T12" fmla="*/ 82 w 533"/>
                <a:gd name="T13" fmla="*/ 0 h 1279"/>
                <a:gd name="T14" fmla="*/ 82 w 533"/>
                <a:gd name="T15" fmla="*/ 224 h 1279"/>
                <a:gd name="T16" fmla="*/ 0 w 533"/>
                <a:gd name="T17" fmla="*/ 224 h 1279"/>
                <a:gd name="T18" fmla="*/ 324 w 533"/>
                <a:gd name="T19" fmla="*/ 792 h 1279"/>
                <a:gd name="T20" fmla="*/ 432 w 533"/>
                <a:gd name="T21" fmla="*/ 792 h 1279"/>
                <a:gd name="T22" fmla="*/ 432 w 533"/>
                <a:gd name="T23" fmla="*/ 900 h 1279"/>
                <a:gd name="T24" fmla="*/ 324 w 533"/>
                <a:gd name="T25" fmla="*/ 900 h 1279"/>
                <a:gd name="T26" fmla="*/ 324 w 533"/>
                <a:gd name="T27" fmla="*/ 792 h 1279"/>
                <a:gd name="T28" fmla="*/ 324 w 533"/>
                <a:gd name="T29" fmla="*/ 574 h 1279"/>
                <a:gd name="T30" fmla="*/ 432 w 533"/>
                <a:gd name="T31" fmla="*/ 574 h 1279"/>
                <a:gd name="T32" fmla="*/ 432 w 533"/>
                <a:gd name="T33" fmla="*/ 682 h 1279"/>
                <a:gd name="T34" fmla="*/ 324 w 533"/>
                <a:gd name="T35" fmla="*/ 682 h 1279"/>
                <a:gd name="T36" fmla="*/ 324 w 533"/>
                <a:gd name="T37" fmla="*/ 574 h 1279"/>
                <a:gd name="T38" fmla="*/ 324 w 533"/>
                <a:gd name="T39" fmla="*/ 355 h 1279"/>
                <a:gd name="T40" fmla="*/ 432 w 533"/>
                <a:gd name="T41" fmla="*/ 355 h 1279"/>
                <a:gd name="T42" fmla="*/ 432 w 533"/>
                <a:gd name="T43" fmla="*/ 463 h 1279"/>
                <a:gd name="T44" fmla="*/ 324 w 533"/>
                <a:gd name="T45" fmla="*/ 463 h 1279"/>
                <a:gd name="T46" fmla="*/ 324 w 533"/>
                <a:gd name="T47" fmla="*/ 355 h 1279"/>
                <a:gd name="T48" fmla="*/ 101 w 533"/>
                <a:gd name="T49" fmla="*/ 792 h 1279"/>
                <a:gd name="T50" fmla="*/ 209 w 533"/>
                <a:gd name="T51" fmla="*/ 792 h 1279"/>
                <a:gd name="T52" fmla="*/ 209 w 533"/>
                <a:gd name="T53" fmla="*/ 900 h 1279"/>
                <a:gd name="T54" fmla="*/ 101 w 533"/>
                <a:gd name="T55" fmla="*/ 900 h 1279"/>
                <a:gd name="T56" fmla="*/ 101 w 533"/>
                <a:gd name="T57" fmla="*/ 792 h 1279"/>
                <a:gd name="T58" fmla="*/ 101 w 533"/>
                <a:gd name="T59" fmla="*/ 574 h 1279"/>
                <a:gd name="T60" fmla="*/ 209 w 533"/>
                <a:gd name="T61" fmla="*/ 574 h 1279"/>
                <a:gd name="T62" fmla="*/ 209 w 533"/>
                <a:gd name="T63" fmla="*/ 682 h 1279"/>
                <a:gd name="T64" fmla="*/ 101 w 533"/>
                <a:gd name="T65" fmla="*/ 682 h 1279"/>
                <a:gd name="T66" fmla="*/ 101 w 533"/>
                <a:gd name="T67" fmla="*/ 574 h 1279"/>
                <a:gd name="T68" fmla="*/ 101 w 533"/>
                <a:gd name="T69" fmla="*/ 355 h 1279"/>
                <a:gd name="T70" fmla="*/ 209 w 533"/>
                <a:gd name="T71" fmla="*/ 355 h 1279"/>
                <a:gd name="T72" fmla="*/ 209 w 533"/>
                <a:gd name="T73" fmla="*/ 463 h 1279"/>
                <a:gd name="T74" fmla="*/ 101 w 533"/>
                <a:gd name="T75" fmla="*/ 463 h 1279"/>
                <a:gd name="T76" fmla="*/ 101 w 533"/>
                <a:gd name="T77" fmla="*/ 35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3" h="1279">
                  <a:moveTo>
                    <a:pt x="0" y="224"/>
                  </a:moveTo>
                  <a:lnTo>
                    <a:pt x="0" y="1279"/>
                  </a:lnTo>
                  <a:lnTo>
                    <a:pt x="533" y="1279"/>
                  </a:lnTo>
                  <a:lnTo>
                    <a:pt x="533" y="224"/>
                  </a:lnTo>
                  <a:lnTo>
                    <a:pt x="451" y="224"/>
                  </a:lnTo>
                  <a:lnTo>
                    <a:pt x="451" y="116"/>
                  </a:lnTo>
                  <a:lnTo>
                    <a:pt x="82" y="0"/>
                  </a:lnTo>
                  <a:lnTo>
                    <a:pt x="82" y="224"/>
                  </a:lnTo>
                  <a:lnTo>
                    <a:pt x="0" y="224"/>
                  </a:lnTo>
                  <a:close/>
                  <a:moveTo>
                    <a:pt x="324" y="792"/>
                  </a:moveTo>
                  <a:lnTo>
                    <a:pt x="432" y="792"/>
                  </a:lnTo>
                  <a:lnTo>
                    <a:pt x="432" y="900"/>
                  </a:lnTo>
                  <a:lnTo>
                    <a:pt x="324" y="900"/>
                  </a:lnTo>
                  <a:lnTo>
                    <a:pt x="324" y="792"/>
                  </a:lnTo>
                  <a:close/>
                  <a:moveTo>
                    <a:pt x="324" y="574"/>
                  </a:moveTo>
                  <a:lnTo>
                    <a:pt x="432" y="574"/>
                  </a:lnTo>
                  <a:lnTo>
                    <a:pt x="432" y="682"/>
                  </a:lnTo>
                  <a:lnTo>
                    <a:pt x="324" y="682"/>
                  </a:lnTo>
                  <a:lnTo>
                    <a:pt x="324" y="574"/>
                  </a:lnTo>
                  <a:close/>
                  <a:moveTo>
                    <a:pt x="324" y="355"/>
                  </a:moveTo>
                  <a:lnTo>
                    <a:pt x="432" y="355"/>
                  </a:lnTo>
                  <a:lnTo>
                    <a:pt x="432" y="463"/>
                  </a:lnTo>
                  <a:lnTo>
                    <a:pt x="324" y="463"/>
                  </a:lnTo>
                  <a:lnTo>
                    <a:pt x="324" y="355"/>
                  </a:lnTo>
                  <a:close/>
                  <a:moveTo>
                    <a:pt x="101" y="792"/>
                  </a:moveTo>
                  <a:lnTo>
                    <a:pt x="209" y="792"/>
                  </a:lnTo>
                  <a:lnTo>
                    <a:pt x="209" y="900"/>
                  </a:lnTo>
                  <a:lnTo>
                    <a:pt x="101" y="900"/>
                  </a:lnTo>
                  <a:lnTo>
                    <a:pt x="101" y="792"/>
                  </a:lnTo>
                  <a:close/>
                  <a:moveTo>
                    <a:pt x="101" y="574"/>
                  </a:moveTo>
                  <a:lnTo>
                    <a:pt x="209" y="574"/>
                  </a:lnTo>
                  <a:lnTo>
                    <a:pt x="209" y="682"/>
                  </a:lnTo>
                  <a:lnTo>
                    <a:pt x="101" y="682"/>
                  </a:lnTo>
                  <a:lnTo>
                    <a:pt x="101" y="574"/>
                  </a:lnTo>
                  <a:close/>
                  <a:moveTo>
                    <a:pt x="101" y="355"/>
                  </a:moveTo>
                  <a:lnTo>
                    <a:pt x="209" y="355"/>
                  </a:lnTo>
                  <a:lnTo>
                    <a:pt x="209" y="463"/>
                  </a:lnTo>
                  <a:lnTo>
                    <a:pt x="101" y="463"/>
                  </a:lnTo>
                  <a:lnTo>
                    <a:pt x="101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ru-RU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828387" y="248413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828387" y="337948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pic>
        <p:nvPicPr>
          <p:cNvPr id="26" name="图片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7572" y="4474859"/>
            <a:ext cx="4767354" cy="1950030"/>
          </a:xfrm>
          <a:prstGeom prst="rect">
            <a:avLst/>
          </a:prstGeom>
        </p:spPr>
      </p:pic>
      <p:sp>
        <p:nvSpPr>
          <p:cNvPr id="27" name="îslîḋê"/>
          <p:cNvSpPr/>
          <p:nvPr userDrawn="1"/>
        </p:nvSpPr>
        <p:spPr bwMode="auto">
          <a:xfrm>
            <a:off x="4762" y="6024282"/>
            <a:ext cx="12187237" cy="825687"/>
          </a:xfrm>
          <a:custGeom>
            <a:avLst/>
            <a:gdLst>
              <a:gd name="T0" fmla="*/ 0 w 3200"/>
              <a:gd name="T1" fmla="*/ 129 h 391"/>
              <a:gd name="T2" fmla="*/ 3200 w 3200"/>
              <a:gd name="T3" fmla="*/ 0 h 391"/>
              <a:gd name="T4" fmla="*/ 3200 w 3200"/>
              <a:gd name="T5" fmla="*/ 268 h 391"/>
              <a:gd name="T6" fmla="*/ 0 w 3200"/>
              <a:gd name="T7" fmla="*/ 264 h 391"/>
              <a:gd name="T8" fmla="*/ 0 w 3200"/>
              <a:gd name="T9" fmla="*/ 129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391">
                <a:moveTo>
                  <a:pt x="0" y="129"/>
                </a:moveTo>
                <a:cubicBezTo>
                  <a:pt x="217" y="129"/>
                  <a:pt x="2396" y="272"/>
                  <a:pt x="3200" y="0"/>
                </a:cubicBezTo>
                <a:cubicBezTo>
                  <a:pt x="3200" y="391"/>
                  <a:pt x="3200" y="268"/>
                  <a:pt x="3200" y="268"/>
                </a:cubicBezTo>
                <a:cubicBezTo>
                  <a:pt x="0" y="264"/>
                  <a:pt x="0" y="264"/>
                  <a:pt x="0" y="264"/>
                </a:cubicBezTo>
                <a:lnTo>
                  <a:pt x="0" y="129"/>
                </a:lnTo>
                <a:close/>
              </a:path>
            </a:pathLst>
          </a:custGeom>
          <a:solidFill>
            <a:srgbClr val="89CE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ru-RU"/>
          </a:p>
        </p:txBody>
      </p:sp>
      <p:sp>
        <p:nvSpPr>
          <p:cNvPr id="37" name="iṥliḍè"/>
          <p:cNvSpPr/>
          <p:nvPr userDrawn="1"/>
        </p:nvSpPr>
        <p:spPr bwMode="auto">
          <a:xfrm>
            <a:off x="4762" y="5876365"/>
            <a:ext cx="12187237" cy="987051"/>
          </a:xfrm>
          <a:custGeom>
            <a:avLst/>
            <a:gdLst>
              <a:gd name="T0" fmla="*/ 3200 w 3200"/>
              <a:gd name="T1" fmla="*/ 331 h 465"/>
              <a:gd name="T2" fmla="*/ 0 w 3200"/>
              <a:gd name="T3" fmla="*/ 0 h 465"/>
              <a:gd name="T4" fmla="*/ 0 w 3200"/>
              <a:gd name="T5" fmla="*/ 465 h 465"/>
              <a:gd name="T6" fmla="*/ 3200 w 3200"/>
              <a:gd name="T7" fmla="*/ 465 h 465"/>
              <a:gd name="T8" fmla="*/ 3200 w 3200"/>
              <a:gd name="T9" fmla="*/ 331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465">
                <a:moveTo>
                  <a:pt x="3200" y="331"/>
                </a:moveTo>
                <a:cubicBezTo>
                  <a:pt x="2983" y="331"/>
                  <a:pt x="804" y="273"/>
                  <a:pt x="0" y="0"/>
                </a:cubicBezTo>
                <a:cubicBezTo>
                  <a:pt x="0" y="392"/>
                  <a:pt x="0" y="465"/>
                  <a:pt x="0" y="465"/>
                </a:cubicBezTo>
                <a:cubicBezTo>
                  <a:pt x="3200" y="465"/>
                  <a:pt x="3200" y="465"/>
                  <a:pt x="3200" y="465"/>
                </a:cubicBezTo>
                <a:lnTo>
                  <a:pt x="3200" y="331"/>
                </a:lnTo>
                <a:close/>
              </a:path>
            </a:pathLst>
          </a:custGeom>
          <a:solidFill>
            <a:srgbClr val="1E43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A025F-33B2-434B-885A-8BF7F7270811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651ED-F004-41EA-9B08-A5F1C91CF24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A025F-33B2-434B-885A-8BF7F7270811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651ED-F004-41EA-9B08-A5F1C91CF24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A025F-33B2-434B-885A-8BF7F7270811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651ED-F004-41EA-9B08-A5F1C91CF24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A025F-33B2-434B-885A-8BF7F7270811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651ED-F004-41EA-9B08-A5F1C91CF24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A025F-33B2-434B-885A-8BF7F7270811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651ED-F004-41EA-9B08-A5F1C91CF24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A025F-33B2-434B-885A-8BF7F7270811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651ED-F004-41EA-9B08-A5F1C91CF24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8" Type="http://schemas.openxmlformats.org/officeDocument/2006/relationships/theme" Target="../theme/theme1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EA025F-33B2-434B-885A-8BF7F7270811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E651ED-F004-41EA-9B08-A5F1C91CF244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tags" Target="../tags/tag2.xml"/><Relationship Id="rId3" Type="http://schemas.openxmlformats.org/officeDocument/2006/relationships/image" Target="../media/image4.png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tags" Target="../tags/tag6.xml"/><Relationship Id="rId2" Type="http://schemas.openxmlformats.org/officeDocument/2006/relationships/image" Target="../media/image6.png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2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image" Target="../media/image8.svg"/><Relationship Id="rId3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17.xml"/><Relationship Id="rId8" Type="http://schemas.openxmlformats.org/officeDocument/2006/relationships/image" Target="../media/image8.svg"/><Relationship Id="rId7" Type="http://schemas.openxmlformats.org/officeDocument/2006/relationships/image" Target="../media/image7.png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2" Type="http://schemas.openxmlformats.org/officeDocument/2006/relationships/notesSlide" Target="../notesSlides/notesSlide3.xml"/><Relationship Id="rId11" Type="http://schemas.openxmlformats.org/officeDocument/2006/relationships/slideLayout" Target="../slideLayouts/slideLayout2.xml"/><Relationship Id="rId10" Type="http://schemas.openxmlformats.org/officeDocument/2006/relationships/tags" Target="../tags/tag18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25.xml"/><Relationship Id="rId8" Type="http://schemas.openxmlformats.org/officeDocument/2006/relationships/image" Target="../media/image10.svg"/><Relationship Id="rId7" Type="http://schemas.openxmlformats.org/officeDocument/2006/relationships/image" Target="../media/image9.png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2" Type="http://schemas.openxmlformats.org/officeDocument/2006/relationships/notesSlide" Target="../notesSlides/notesSlide4.xml"/><Relationship Id="rId11" Type="http://schemas.openxmlformats.org/officeDocument/2006/relationships/slideLayout" Target="../slideLayouts/slideLayout2.xml"/><Relationship Id="rId10" Type="http://schemas.openxmlformats.org/officeDocument/2006/relationships/tags" Target="../tags/tag26.xml"/><Relationship Id="rId1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tags" Target="../tags/tag28.xml"/><Relationship Id="rId3" Type="http://schemas.openxmlformats.org/officeDocument/2006/relationships/image" Target="../media/image4.png"/><Relationship Id="rId2" Type="http://schemas.openxmlformats.org/officeDocument/2006/relationships/oleObject" Target="../embeddings/oleObject2.bin"/><Relationship Id="rId1" Type="http://schemas.openxmlformats.org/officeDocument/2006/relationships/tags" Target="../tags/tag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1027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10" name="文本占位符 6"/>
          <p:cNvSpPr txBox="1"/>
          <p:nvPr/>
        </p:nvSpPr>
        <p:spPr>
          <a:xfrm>
            <a:off x="1899285" y="1736090"/>
            <a:ext cx="8505190" cy="237744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b="1" dirty="0">
                <a:solidFill>
                  <a:srgbClr val="1E437A"/>
                </a:solidFill>
                <a:cs typeface="+mn-ea"/>
                <a:sym typeface="+mn-lt"/>
              </a:rPr>
              <a:t>2021</a:t>
            </a:r>
            <a:r>
              <a:rPr lang="zh-CN" altLang="en-US" sz="4800" b="1" dirty="0">
                <a:solidFill>
                  <a:srgbClr val="1E437A"/>
                </a:solidFill>
                <a:cs typeface="+mn-ea"/>
                <a:sym typeface="+mn-lt"/>
              </a:rPr>
              <a:t>年电子设计大赛</a:t>
            </a:r>
            <a:r>
              <a:rPr lang="en-US" altLang="zh-CN" sz="4800" b="1" dirty="0">
                <a:solidFill>
                  <a:srgbClr val="1E437A"/>
                </a:solidFill>
                <a:cs typeface="+mn-ea"/>
                <a:sym typeface="+mn-lt"/>
              </a:rPr>
              <a:t>F</a:t>
            </a:r>
            <a:r>
              <a:rPr lang="zh-CN" altLang="en-US" sz="4800" b="1" dirty="0">
                <a:solidFill>
                  <a:srgbClr val="1E437A"/>
                </a:solidFill>
                <a:cs typeface="+mn-ea"/>
                <a:sym typeface="+mn-lt"/>
              </a:rPr>
              <a:t>题</a:t>
            </a:r>
            <a:endParaRPr lang="zh-CN" altLang="en-US" sz="4800" b="1" dirty="0">
              <a:solidFill>
                <a:srgbClr val="1E437A"/>
              </a:solidFill>
              <a:cs typeface="+mn-ea"/>
              <a:sym typeface="+mn-lt"/>
            </a:endParaRPr>
          </a:p>
          <a:p>
            <a:pPr marL="0" indent="0" algn="ctr">
              <a:buNone/>
            </a:pPr>
            <a:r>
              <a:rPr lang="en-US" altLang="zh-CN" sz="4800" b="1" dirty="0">
                <a:solidFill>
                  <a:srgbClr val="1E437A"/>
                </a:solidFill>
                <a:cs typeface="+mn-ea"/>
                <a:sym typeface="+mn-lt"/>
              </a:rPr>
              <a:t>——</a:t>
            </a:r>
            <a:r>
              <a:rPr lang="zh-CN" altLang="en-US" sz="4800" b="1" dirty="0">
                <a:solidFill>
                  <a:srgbClr val="1E437A"/>
                </a:solidFill>
                <a:cs typeface="+mn-ea"/>
                <a:sym typeface="+mn-lt"/>
              </a:rPr>
              <a:t>送药小车赛题进展</a:t>
            </a:r>
            <a:endParaRPr lang="zh-CN" altLang="en-US" sz="4800" b="1" dirty="0">
              <a:solidFill>
                <a:srgbClr val="1E437A"/>
              </a:solidFill>
              <a:cs typeface="+mn-ea"/>
              <a:sym typeface="+mn-lt"/>
            </a:endParaRPr>
          </a:p>
        </p:txBody>
      </p:sp>
      <p:sp>
        <p:nvSpPr>
          <p:cNvPr id="11" name="文本占位符 7"/>
          <p:cNvSpPr txBox="1"/>
          <p:nvPr/>
        </p:nvSpPr>
        <p:spPr>
          <a:xfrm>
            <a:off x="1909135" y="3429187"/>
            <a:ext cx="8505372" cy="42124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2000" dirty="0" smtClean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SOUTHWEST  JIAOTONG  UNIVERSITY</a:t>
            </a:r>
            <a:endParaRPr lang="en-US" altLang="zh-CN" sz="2000" dirty="0">
              <a:solidFill>
                <a:schemeClr val="bg1">
                  <a:lumMod val="50000"/>
                </a:schemeClr>
              </a:solidFill>
              <a:cs typeface="+mn-ea"/>
              <a:sym typeface="+mn-lt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335" y="594193"/>
            <a:ext cx="2434654" cy="68635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标题 16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zh-CN" altLang="en-US" sz="4000">
                <a:sym typeface="+mn-ea"/>
              </a:rPr>
              <a:t>赛题进展</a:t>
            </a:r>
            <a:r>
              <a:rPr lang="en-US" altLang="zh-CN" sz="4000">
                <a:sym typeface="+mn-ea"/>
              </a:rPr>
              <a:t>——</a:t>
            </a:r>
            <a:r>
              <a:rPr lang="zh-CN" altLang="en-US" sz="4000">
                <a:sym typeface="+mn-ea"/>
              </a:rPr>
              <a:t>硬件部分</a:t>
            </a:r>
            <a:endParaRPr lang="zh-CN" altLang="en-US" sz="4000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824230" y="1435735"/>
            <a:ext cx="10040620" cy="4832350"/>
          </a:xfrm>
          <a:prstGeom prst="rect">
            <a:avLst/>
          </a:prstGeom>
          <a:noFill/>
        </p:spPr>
        <p:txBody>
          <a:bodyPr wrap="square" rtlCol="0" anchor="ctr" anchorCtr="0">
            <a:normAutofit fontScale="70000"/>
          </a:bodyPr>
          <a:p>
            <a:pPr indent="0" algn="l" fontAlgn="auto">
              <a:lnSpc>
                <a:spcPct val="150000"/>
              </a:lnSpc>
              <a:spcAft>
                <a:spcPts val="600"/>
              </a:spcAft>
            </a:pP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1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、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车型</a:t>
            </a:r>
            <a:r>
              <a:rPr lang="zh-CN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使用</a:t>
            </a:r>
            <a:r>
              <a:rPr lang="zh-CN" altLang="en-US" sz="3200">
                <a:solidFill>
                  <a:srgbClr val="FF0000"/>
                </a:solidFill>
                <a:latin typeface="+mn-ea"/>
                <a:cs typeface="+mn-ea"/>
                <a:sym typeface="+mn-ea"/>
              </a:rPr>
              <a:t>三轮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结构</a:t>
            </a:r>
            <a:r>
              <a:rPr lang="en-US" altLang="zh-CN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(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两驱动轮</a:t>
            </a:r>
            <a:r>
              <a:rPr lang="en-US" altLang="zh-CN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+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万向轮</a:t>
            </a:r>
            <a:r>
              <a:rPr lang="en-US" altLang="zh-CN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),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转弯灵活</a:t>
            </a:r>
            <a:r>
              <a:rPr lang="en-US" altLang="zh-CN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,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适合直角转弯场景。</a:t>
            </a:r>
            <a:endParaRPr lang="zh-CN" altLang="en-US" sz="3200"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</a:endParaRPr>
          </a:p>
          <a:p>
            <a:pPr algn="just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2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、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电机使用</a:t>
            </a:r>
            <a:r>
              <a:rPr lang="zh-CN" altLang="en-US" sz="3200">
                <a:solidFill>
                  <a:srgbClr val="FF0000"/>
                </a:solidFill>
                <a:latin typeface="+mn-ea"/>
                <a:cs typeface="+mn-ea"/>
                <a:sym typeface="+mn-ea"/>
              </a:rPr>
              <a:t>直流减速有刷电机</a:t>
            </a:r>
            <a:r>
              <a:rPr lang="en-US" altLang="zh-CN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: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成本低、控制简单</a:t>
            </a:r>
            <a:r>
              <a:rPr lang="en-US" altLang="zh-CN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,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搭配编码器实现速度闭环控制</a:t>
            </a:r>
            <a:r>
              <a:rPr lang="en-US" altLang="zh-CN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(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如霍尔编码器</a:t>
            </a:r>
            <a:r>
              <a:rPr lang="en-US" altLang="zh-CN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),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提升速度和位置精度。</a:t>
            </a:r>
            <a:endParaRPr lang="zh-CN" altLang="en-US" sz="3200"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  <a:p>
            <a:pPr algn="just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3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、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电机驱动使用</a:t>
            </a:r>
            <a:r>
              <a:rPr lang="en-US" altLang="zh-CN" sz="3200">
                <a:solidFill>
                  <a:srgbClr val="FF0000"/>
                </a:solidFill>
                <a:latin typeface="+mn-ea"/>
                <a:cs typeface="+mn-ea"/>
                <a:sym typeface="+mn-ea"/>
              </a:rPr>
              <a:t>TB6612</a:t>
            </a:r>
            <a:r>
              <a:rPr lang="zh-CN" altLang="en-US" sz="3200">
                <a:solidFill>
                  <a:srgbClr val="FF0000"/>
                </a:solidFill>
                <a:latin typeface="+mn-ea"/>
                <a:cs typeface="+mn-ea"/>
                <a:sym typeface="+mn-ea"/>
              </a:rPr>
              <a:t>模块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，满足电机速度控制和巡线稳定的需求。</a:t>
            </a:r>
            <a:endParaRPr lang="zh-CN" altLang="en-US" sz="3200"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  <a:p>
            <a:pPr algn="just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4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、巡线使用</a:t>
            </a:r>
            <a:r>
              <a:rPr lang="zh-CN" altLang="en-US" sz="3200">
                <a:solidFill>
                  <a:srgbClr val="FF0000"/>
                </a:solidFill>
                <a:latin typeface="+mn-ea"/>
                <a:cs typeface="+mn-ea"/>
                <a:sym typeface="+mn-ea"/>
              </a:rPr>
              <a:t>灰度传感器+角度传感器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的方案,两者分别在速度环的内环上,外环分别加上角度环和位置环,使得小车可以在直线段走直,在转弯处可以实现90度或180度的转弯，解决小车直角拐弯的问题。</a:t>
            </a:r>
            <a:endParaRPr lang="zh-CN" altLang="en-US" sz="3200"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  <a:p>
            <a:pPr algn="just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 sz="320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</p:txBody>
      </p:sp>
    </p:spTree>
    <p:custDataLst>
      <p:tags r:id="rId2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标题 16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zh-CN" altLang="en-US" sz="4000">
                <a:sym typeface="+mn-ea"/>
              </a:rPr>
              <a:t>赛题进展</a:t>
            </a:r>
            <a:r>
              <a:rPr lang="en-US" altLang="zh-CN" sz="4000">
                <a:sym typeface="+mn-ea"/>
              </a:rPr>
              <a:t>——</a:t>
            </a:r>
            <a:r>
              <a:rPr lang="zh-CN" altLang="en-US" sz="4000">
                <a:sym typeface="+mn-ea"/>
              </a:rPr>
              <a:t>硬件部分</a:t>
            </a:r>
            <a:endParaRPr lang="zh-CN" altLang="en-US" sz="4000"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830" y="1401445"/>
            <a:ext cx="8191500" cy="393128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925830" y="5445125"/>
            <a:ext cx="10544810" cy="914400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p>
            <a:pPr indent="0" algn="l" fontAlgn="auto">
              <a:lnSpc>
                <a:spcPct val="150000"/>
              </a:lnSpc>
              <a:spcAft>
                <a:spcPts val="600"/>
              </a:spcAft>
            </a:pP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设计</a:t>
            </a: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PCB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集成主板、驱动板、角度传感器等元器件。</a:t>
            </a:r>
            <a:endParaRPr lang="zh-CN" altLang="en-US" sz="320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</p:txBody>
      </p:sp>
    </p:spTree>
    <p:custDataLst>
      <p:tags r:id="rId3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赛题进展</a:t>
            </a:r>
            <a:r>
              <a:rPr lang="en-US" altLang="zh-CN">
                <a:sym typeface="+mn-ea"/>
              </a:rPr>
              <a:t>——</a:t>
            </a:r>
            <a:r>
              <a:rPr lang="zh-CN" altLang="en-US">
                <a:sym typeface="+mn-ea"/>
              </a:rPr>
              <a:t>软件部分</a:t>
            </a:r>
            <a:endParaRPr lang="zh-CN" altLang="en-US"/>
          </a:p>
        </p:txBody>
      </p:sp>
      <p:pic>
        <p:nvPicPr>
          <p:cNvPr id="4" name="图片 3" descr="打印机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3285" y="1581150"/>
            <a:ext cx="406400" cy="406400"/>
          </a:xfrm>
          <a:prstGeom prst="rect">
            <a:avLst/>
          </a:prstGeom>
        </p:spPr>
      </p:pic>
      <p:sp>
        <p:nvSpPr>
          <p:cNvPr id="9" name="文本框 8"/>
          <p:cNvSpPr txBox="1"/>
          <p:nvPr>
            <p:custDataLst>
              <p:tags r:id="rId5"/>
            </p:custDataLst>
          </p:nvPr>
        </p:nvSpPr>
        <p:spPr>
          <a:xfrm>
            <a:off x="883285" y="1691005"/>
            <a:ext cx="10062210" cy="3445510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indent="0" fontAlgn="auto">
              <a:lnSpc>
                <a:spcPct val="150000"/>
              </a:lnSpc>
              <a:spcAft>
                <a:spcPts val="600"/>
              </a:spcAft>
            </a:pP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1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、使用</a:t>
            </a: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PID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闭环控制算法，加强巡线速度和稳定性。</a:t>
            </a:r>
            <a:endParaRPr lang="zh-CN" altLang="en-US" sz="320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  <a:p>
            <a:pPr indent="0" fontAlgn="auto">
              <a:lnSpc>
                <a:spcPct val="150000"/>
              </a:lnSpc>
              <a:spcAft>
                <a:spcPts val="600"/>
              </a:spcAft>
            </a:pP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2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、设计</a:t>
            </a: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DMA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和串口、</a:t>
            </a:r>
            <a:r>
              <a:rPr lang="zh-CN" altLang="en-US" sz="320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LoRa模块的算法，加强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通信效率和准确度。低功耗且满足通信需求。</a:t>
            </a:r>
            <a:endParaRPr lang="zh-CN" altLang="en-US" sz="320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</p:txBody>
      </p:sp>
    </p:spTree>
    <p:custDataLst>
      <p:tags r:id="rId6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zh-CN" altLang="en-US" sz="4000"/>
              <a:t>赛题进展</a:t>
            </a:r>
            <a:r>
              <a:rPr lang="en-US" altLang="zh-CN" sz="4000"/>
              <a:t>——</a:t>
            </a:r>
            <a:r>
              <a:rPr lang="zh-CN" altLang="en-US" sz="4000"/>
              <a:t>视觉部分</a:t>
            </a:r>
            <a:endParaRPr lang="zh-CN" altLang="en-US" sz="4000"/>
          </a:p>
        </p:txBody>
      </p:sp>
      <p:sp>
        <p:nvSpPr>
          <p:cNvPr id="5" name="任意多边形 4"/>
          <p:cNvSpPr/>
          <p:nvPr>
            <p:custDataLst>
              <p:tags r:id="rId2"/>
            </p:custDataLst>
          </p:nvPr>
        </p:nvSpPr>
        <p:spPr>
          <a:xfrm>
            <a:off x="695960" y="1423035"/>
            <a:ext cx="10800080" cy="4838700"/>
          </a:xfrm>
          <a:custGeom>
            <a:avLst/>
            <a:gdLst>
              <a:gd name="connsiteX0" fmla="*/ 546 w 17008"/>
              <a:gd name="connsiteY0" fmla="*/ 1 h 7620"/>
              <a:gd name="connsiteX1" fmla="*/ 16856 w 17008"/>
              <a:gd name="connsiteY1" fmla="*/ 0 h 7620"/>
              <a:gd name="connsiteX2" fmla="*/ 17008 w 17008"/>
              <a:gd name="connsiteY2" fmla="*/ 152 h 7620"/>
              <a:gd name="connsiteX3" fmla="*/ 17008 w 17008"/>
              <a:gd name="connsiteY3" fmla="*/ 7468 h 7620"/>
              <a:gd name="connsiteX4" fmla="*/ 16856 w 17008"/>
              <a:gd name="connsiteY4" fmla="*/ 7620 h 7620"/>
              <a:gd name="connsiteX5" fmla="*/ 152 w 17008"/>
              <a:gd name="connsiteY5" fmla="*/ 7620 h 7620"/>
              <a:gd name="connsiteX6" fmla="*/ 0 w 17008"/>
              <a:gd name="connsiteY6" fmla="*/ 7468 h 7620"/>
              <a:gd name="connsiteX7" fmla="*/ 4 w 17008"/>
              <a:gd name="connsiteY7" fmla="*/ 2173 h 7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08" h="7620">
                <a:moveTo>
                  <a:pt x="546" y="1"/>
                </a:moveTo>
                <a:lnTo>
                  <a:pt x="16856" y="0"/>
                </a:lnTo>
                <a:cubicBezTo>
                  <a:pt x="16940" y="0"/>
                  <a:pt x="17008" y="68"/>
                  <a:pt x="17008" y="152"/>
                </a:cubicBezTo>
                <a:lnTo>
                  <a:pt x="17008" y="7468"/>
                </a:lnTo>
                <a:cubicBezTo>
                  <a:pt x="17008" y="7552"/>
                  <a:pt x="16940" y="7620"/>
                  <a:pt x="16856" y="7620"/>
                </a:cubicBezTo>
                <a:lnTo>
                  <a:pt x="152" y="7620"/>
                </a:lnTo>
                <a:cubicBezTo>
                  <a:pt x="68" y="7620"/>
                  <a:pt x="0" y="7552"/>
                  <a:pt x="0" y="7468"/>
                </a:cubicBezTo>
                <a:lnTo>
                  <a:pt x="4" y="2173"/>
                </a:lnTo>
              </a:path>
            </a:pathLst>
          </a:custGeom>
          <a:noFill/>
          <a:ln w="9525">
            <a:solidFill>
              <a:schemeClr val="accent1">
                <a:lumMod val="75000"/>
                <a:alpha val="40000"/>
              </a:schemeClr>
            </a:solidFill>
            <a:headEnd type="none"/>
            <a:tailEnd type="oval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7" name="矩形 6"/>
          <p:cNvSpPr/>
          <p:nvPr>
            <p:custDataLst>
              <p:tags r:id="rId3"/>
            </p:custDataLst>
          </p:nvPr>
        </p:nvSpPr>
        <p:spPr>
          <a:xfrm>
            <a:off x="1452880" y="1423035"/>
            <a:ext cx="10043795" cy="739140"/>
          </a:xfrm>
          <a:prstGeom prst="rect">
            <a:avLst/>
          </a:prstGeom>
          <a:gradFill>
            <a:gsLst>
              <a:gs pos="0">
                <a:schemeClr val="accent1">
                  <a:alpha val="5000"/>
                </a:schemeClr>
              </a:gs>
              <a:gs pos="100000">
                <a:schemeClr val="accent1">
                  <a:alpha val="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lIns="288290" rtlCol="0" anchor="ctr"/>
          <a:lstStyle/>
          <a:p>
            <a:pPr algn="l"/>
            <a:r>
              <a:rPr lang="zh-CN" altLang="en-US" sz="2400" b="1">
                <a:solidFill>
                  <a:schemeClr val="accent1"/>
                </a:solidFill>
              </a:rPr>
              <a:t>数字的识别</a:t>
            </a:r>
            <a:endParaRPr lang="zh-CN" altLang="en-US" sz="2400" b="1">
              <a:solidFill>
                <a:schemeClr val="accent1"/>
              </a:solidFill>
            </a:endParaRPr>
          </a:p>
        </p:txBody>
      </p:sp>
      <p:sp>
        <p:nvSpPr>
          <p:cNvPr id="11" name="圆角矩形 10"/>
          <p:cNvSpPr/>
          <p:nvPr>
            <p:custDataLst>
              <p:tags r:id="rId4"/>
            </p:custDataLst>
          </p:nvPr>
        </p:nvSpPr>
        <p:spPr>
          <a:xfrm>
            <a:off x="716915" y="1423035"/>
            <a:ext cx="738505" cy="741045"/>
          </a:xfrm>
          <a:prstGeom prst="roundRect">
            <a:avLst>
              <a:gd name="adj" fmla="val 9389"/>
            </a:avLst>
          </a:prstGeom>
          <a:gradFill>
            <a:gsLst>
              <a:gs pos="67000">
                <a:schemeClr val="accent1"/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连接符 11"/>
          <p:cNvCxnSpPr/>
          <p:nvPr>
            <p:custDataLst>
              <p:tags r:id="rId5"/>
            </p:custDataLst>
          </p:nvPr>
        </p:nvCxnSpPr>
        <p:spPr>
          <a:xfrm>
            <a:off x="1202055" y="2170430"/>
            <a:ext cx="9905365" cy="0"/>
          </a:xfrm>
          <a:prstGeom prst="line">
            <a:avLst/>
          </a:prstGeom>
          <a:ln w="9525">
            <a:solidFill>
              <a:schemeClr val="accent1">
                <a:alpha val="40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pic>
        <p:nvPicPr>
          <p:cNvPr id="4" name="图片 3" descr="打印机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3285" y="1581150"/>
            <a:ext cx="406400" cy="406400"/>
          </a:xfrm>
          <a:prstGeom prst="rect">
            <a:avLst/>
          </a:prstGeom>
        </p:spPr>
      </p:pic>
      <p:sp>
        <p:nvSpPr>
          <p:cNvPr id="9" name="文本框 8"/>
          <p:cNvSpPr txBox="1"/>
          <p:nvPr>
            <p:custDataLst>
              <p:tags r:id="rId9"/>
            </p:custDataLst>
          </p:nvPr>
        </p:nvSpPr>
        <p:spPr>
          <a:xfrm>
            <a:off x="1089660" y="2441575"/>
            <a:ext cx="10062210" cy="3445510"/>
          </a:xfrm>
          <a:prstGeom prst="rect">
            <a:avLst/>
          </a:prstGeom>
          <a:noFill/>
        </p:spPr>
        <p:txBody>
          <a:bodyPr wrap="square" rtlCol="0" anchor="ctr" anchorCtr="0">
            <a:normAutofit fontScale="70000"/>
          </a:bodyPr>
          <a:lstStyle/>
          <a:p>
            <a:pPr indent="0" algn="l" fontAlgn="t">
              <a:lnSpc>
                <a:spcPct val="150000"/>
              </a:lnSpc>
              <a:spcAft>
                <a:spcPts val="600"/>
              </a:spcAft>
            </a:pP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方案设计：</a:t>
            </a:r>
            <a:endParaRPr lang="zh-CN" altLang="en-US" sz="320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  <a:p>
            <a:pPr indent="0" algn="l" fontAlgn="t">
              <a:lnSpc>
                <a:spcPct val="150000"/>
              </a:lnSpc>
              <a:spcAft>
                <a:spcPts val="600"/>
              </a:spcAft>
            </a:pP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1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、使用</a:t>
            </a: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Openmv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模块，通过模版匹配识别数字，精度较高但易受环境影响。</a:t>
            </a:r>
            <a:endParaRPr lang="zh-CN" altLang="en-US" sz="320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  <a:p>
            <a:pPr indent="0" algn="l" fontAlgn="t">
              <a:lnSpc>
                <a:spcPct val="150000"/>
              </a:lnSpc>
              <a:spcAft>
                <a:spcPts val="600"/>
              </a:spcAft>
            </a:pP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2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、使用</a:t>
            </a: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Openmv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模块，通过</a:t>
            </a: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AI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神经网络识别数字，精度高但识别速度较慢。</a:t>
            </a:r>
            <a:endParaRPr lang="zh-CN" altLang="en-US" sz="320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  <a:p>
            <a:pPr indent="0" algn="l" fontAlgn="t">
              <a:lnSpc>
                <a:spcPct val="150000"/>
              </a:lnSpc>
              <a:spcAft>
                <a:spcPts val="600"/>
              </a:spcAft>
            </a:pP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3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、使用</a:t>
            </a: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K230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模块，通过</a:t>
            </a:r>
            <a:r>
              <a:rPr lang="en-US" altLang="zh-CN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AI</a:t>
            </a: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神经网络识别数字，基本能达到所需要求。通过串口实时传回主板数字信息。</a:t>
            </a:r>
            <a:endParaRPr lang="zh-CN" altLang="en-US" sz="320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  <a:p>
            <a:pPr indent="0" algn="l" fontAlgn="t">
              <a:lnSpc>
                <a:spcPct val="150000"/>
              </a:lnSpc>
              <a:spcAft>
                <a:spcPts val="600"/>
              </a:spcAft>
            </a:pPr>
            <a:r>
              <a:rPr lang="zh-CN" altLang="en-US" sz="32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目前三种方案都已部署好，下一步就是组装调试。</a:t>
            </a:r>
            <a:endParaRPr lang="zh-CN" altLang="en-US" sz="320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</p:txBody>
      </p:sp>
    </p:spTree>
    <p:custDataLst>
      <p:tags r:id="rId10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zh-CN" altLang="en-US"/>
              <a:t>备赛准备</a:t>
            </a:r>
            <a:endParaRPr lang="zh-CN" altLang="en-US"/>
          </a:p>
        </p:txBody>
      </p:sp>
      <p:sp>
        <p:nvSpPr>
          <p:cNvPr id="5" name="任意多边形 4"/>
          <p:cNvSpPr/>
          <p:nvPr>
            <p:custDataLst>
              <p:tags r:id="rId2"/>
            </p:custDataLst>
          </p:nvPr>
        </p:nvSpPr>
        <p:spPr>
          <a:xfrm>
            <a:off x="695960" y="1423035"/>
            <a:ext cx="10800080" cy="4838700"/>
          </a:xfrm>
          <a:custGeom>
            <a:avLst/>
            <a:gdLst>
              <a:gd name="connsiteX0" fmla="*/ 546 w 17008"/>
              <a:gd name="connsiteY0" fmla="*/ 1 h 7620"/>
              <a:gd name="connsiteX1" fmla="*/ 16856 w 17008"/>
              <a:gd name="connsiteY1" fmla="*/ 0 h 7620"/>
              <a:gd name="connsiteX2" fmla="*/ 17008 w 17008"/>
              <a:gd name="connsiteY2" fmla="*/ 152 h 7620"/>
              <a:gd name="connsiteX3" fmla="*/ 17008 w 17008"/>
              <a:gd name="connsiteY3" fmla="*/ 7468 h 7620"/>
              <a:gd name="connsiteX4" fmla="*/ 16856 w 17008"/>
              <a:gd name="connsiteY4" fmla="*/ 7620 h 7620"/>
              <a:gd name="connsiteX5" fmla="*/ 152 w 17008"/>
              <a:gd name="connsiteY5" fmla="*/ 7620 h 7620"/>
              <a:gd name="connsiteX6" fmla="*/ 0 w 17008"/>
              <a:gd name="connsiteY6" fmla="*/ 7468 h 7620"/>
              <a:gd name="connsiteX7" fmla="*/ 4 w 17008"/>
              <a:gd name="connsiteY7" fmla="*/ 2173 h 7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08" h="7620">
                <a:moveTo>
                  <a:pt x="546" y="1"/>
                </a:moveTo>
                <a:lnTo>
                  <a:pt x="16856" y="0"/>
                </a:lnTo>
                <a:cubicBezTo>
                  <a:pt x="16940" y="0"/>
                  <a:pt x="17008" y="68"/>
                  <a:pt x="17008" y="152"/>
                </a:cubicBezTo>
                <a:lnTo>
                  <a:pt x="17008" y="7468"/>
                </a:lnTo>
                <a:cubicBezTo>
                  <a:pt x="17008" y="7552"/>
                  <a:pt x="16940" y="7620"/>
                  <a:pt x="16856" y="7620"/>
                </a:cubicBezTo>
                <a:lnTo>
                  <a:pt x="152" y="7620"/>
                </a:lnTo>
                <a:cubicBezTo>
                  <a:pt x="68" y="7620"/>
                  <a:pt x="0" y="7552"/>
                  <a:pt x="0" y="7468"/>
                </a:cubicBezTo>
                <a:lnTo>
                  <a:pt x="4" y="2173"/>
                </a:lnTo>
              </a:path>
            </a:pathLst>
          </a:custGeom>
          <a:noFill/>
          <a:ln w="9525">
            <a:solidFill>
              <a:schemeClr val="accent1">
                <a:lumMod val="75000"/>
                <a:alpha val="40000"/>
              </a:schemeClr>
            </a:solidFill>
            <a:headEnd type="none"/>
            <a:tailEnd type="oval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7" name="矩形 6"/>
          <p:cNvSpPr/>
          <p:nvPr>
            <p:custDataLst>
              <p:tags r:id="rId3"/>
            </p:custDataLst>
          </p:nvPr>
        </p:nvSpPr>
        <p:spPr>
          <a:xfrm>
            <a:off x="1452880" y="1423035"/>
            <a:ext cx="10043795" cy="739140"/>
          </a:xfrm>
          <a:prstGeom prst="rect">
            <a:avLst/>
          </a:prstGeom>
          <a:gradFill>
            <a:gsLst>
              <a:gs pos="0">
                <a:schemeClr val="accent1">
                  <a:alpha val="5000"/>
                </a:schemeClr>
              </a:gs>
              <a:gs pos="100000">
                <a:schemeClr val="accent1">
                  <a:alpha val="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lIns="288290" rtlCol="0" anchor="ctr"/>
          <a:lstStyle/>
          <a:p>
            <a:pPr algn="l"/>
            <a:r>
              <a:rPr lang="zh-CN" altLang="en-US" sz="2400" b="1">
                <a:solidFill>
                  <a:schemeClr val="accent1"/>
                </a:solidFill>
              </a:rPr>
              <a:t>药品有无的识别</a:t>
            </a:r>
            <a:endParaRPr lang="zh-CN" altLang="en-US" sz="2400" b="1">
              <a:solidFill>
                <a:schemeClr val="accent1"/>
              </a:solidFill>
            </a:endParaRPr>
          </a:p>
        </p:txBody>
      </p:sp>
      <p:sp>
        <p:nvSpPr>
          <p:cNvPr id="11" name="圆角矩形 10"/>
          <p:cNvSpPr/>
          <p:nvPr>
            <p:custDataLst>
              <p:tags r:id="rId4"/>
            </p:custDataLst>
          </p:nvPr>
        </p:nvSpPr>
        <p:spPr>
          <a:xfrm>
            <a:off x="716915" y="1423035"/>
            <a:ext cx="738505" cy="741045"/>
          </a:xfrm>
          <a:prstGeom prst="roundRect">
            <a:avLst>
              <a:gd name="adj" fmla="val 9389"/>
            </a:avLst>
          </a:prstGeom>
          <a:gradFill>
            <a:gsLst>
              <a:gs pos="67000">
                <a:schemeClr val="accent1"/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连接符 11"/>
          <p:cNvCxnSpPr/>
          <p:nvPr>
            <p:custDataLst>
              <p:tags r:id="rId5"/>
            </p:custDataLst>
          </p:nvPr>
        </p:nvCxnSpPr>
        <p:spPr>
          <a:xfrm>
            <a:off x="1202055" y="2170430"/>
            <a:ext cx="9905365" cy="0"/>
          </a:xfrm>
          <a:prstGeom prst="line">
            <a:avLst/>
          </a:prstGeom>
          <a:ln w="9525">
            <a:solidFill>
              <a:schemeClr val="accent1">
                <a:alpha val="40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pic>
        <p:nvPicPr>
          <p:cNvPr id="4" name="图片 3" descr="打印机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3285" y="1581150"/>
            <a:ext cx="406400" cy="406400"/>
          </a:xfrm>
          <a:prstGeom prst="rect">
            <a:avLst/>
          </a:prstGeom>
        </p:spPr>
      </p:pic>
      <p:sp>
        <p:nvSpPr>
          <p:cNvPr id="9" name="文本框 8"/>
          <p:cNvSpPr txBox="1"/>
          <p:nvPr>
            <p:custDataLst>
              <p:tags r:id="rId9"/>
            </p:custDataLst>
          </p:nvPr>
        </p:nvSpPr>
        <p:spPr>
          <a:xfrm>
            <a:off x="1089660" y="2441575"/>
            <a:ext cx="10062210" cy="3445510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indent="0" fontAlgn="auto">
              <a:lnSpc>
                <a:spcPct val="150000"/>
              </a:lnSpc>
              <a:spcAft>
                <a:spcPts val="600"/>
              </a:spcAft>
            </a:pPr>
            <a:r>
              <a:rPr lang="en-US" altLang="zh-CN" sz="28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1</a:t>
            </a:r>
            <a:r>
              <a:rPr lang="zh-CN" altLang="en-US" sz="28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、使用压力开关模块,通过开关状态,用单片机IO口读取高低电平来读取药品是否在小车上。</a:t>
            </a:r>
            <a:endParaRPr lang="zh-CN" altLang="en-US" sz="280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  <a:p>
            <a:pPr indent="0" fontAlgn="auto">
              <a:lnSpc>
                <a:spcPct val="150000"/>
              </a:lnSpc>
              <a:spcAft>
                <a:spcPts val="600"/>
              </a:spcAft>
            </a:pPr>
            <a:r>
              <a:rPr lang="en-US" altLang="zh-CN" sz="28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2</a:t>
            </a:r>
            <a:r>
              <a:rPr lang="zh-CN" altLang="en-US" sz="2800" dirty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  <a:sym typeface="+mn-ea"/>
              </a:rPr>
              <a:t>、目前单模块的测试均已通过，等待组装进一步调试。</a:t>
            </a:r>
            <a:endParaRPr lang="zh-CN" altLang="en-US" sz="2800" dirty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  <a:sym typeface="+mn-ea"/>
            </a:endParaRPr>
          </a:p>
        </p:txBody>
      </p:sp>
    </p:spTree>
    <p:custDataLst>
      <p:tags r:id="rId10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205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10" name="文本占位符 6"/>
          <p:cNvSpPr txBox="1"/>
          <p:nvPr/>
        </p:nvSpPr>
        <p:spPr>
          <a:xfrm>
            <a:off x="2091055" y="2178685"/>
            <a:ext cx="8505190" cy="11537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8000" b="1" dirty="0" smtClean="0">
                <a:solidFill>
                  <a:srgbClr val="1E437A"/>
                </a:solidFill>
                <a:cs typeface="+mn-ea"/>
                <a:sym typeface="+mn-lt"/>
              </a:rPr>
              <a:t>谢谢大家！</a:t>
            </a:r>
            <a:endParaRPr lang="zh-CN" altLang="en-US" sz="8000" b="1" dirty="0">
              <a:solidFill>
                <a:srgbClr val="1E437A"/>
              </a:solidFill>
              <a:cs typeface="+mn-ea"/>
              <a:sym typeface="+mn-lt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335" y="594193"/>
            <a:ext cx="2434654" cy="68635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SLIDE_ID" val="custom20235136_1"/>
  <p:tag name="KSO_WM_TEMPLATE_SUBCATEGORY" val="0"/>
  <p:tag name="KSO_WM_TEMPLATE_MASTER_TYPE" val="0"/>
  <p:tag name="KSO_WM_TEMPLATE_COLOR_TYPE" val="0"/>
  <p:tag name="KSO_WM_SLIDE_ITEM_CNT" val="0"/>
  <p:tag name="KSO_WM_SLIDE_INDEX" val="1"/>
  <p:tag name="KSO_WM_TAG_VERSION" val="3.0"/>
  <p:tag name="KSO_WM_BEAUTIFY_FLAG" val="#wm#"/>
  <p:tag name="KSO_WM_TEMPLATE_CATEGORY" val="custom"/>
  <p:tag name="KSO_WM_TEMPLATE_INDEX" val="20235136"/>
  <p:tag name="KSO_WM_SLIDE_LAYOUT" val="a_c"/>
  <p:tag name="KSO_WM_SLIDE_LAYOUT_CNT" val="1_1"/>
  <p:tag name="KSO_WM_SLIDE_TYPE" val="text"/>
  <p:tag name="KSO_WM_SLIDE_SUBTYPE" val="picTxt"/>
  <p:tag name="KSO_WM_SLIDE_SIZE" val="792.3*271.3"/>
  <p:tag name="KSO_WM_SLIDE_POSITION" val="85.8*192.25"/>
</p:tagLst>
</file>

<file path=ppt/tags/tag11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custom20235136_1*a*1"/>
  <p:tag name="KSO_WM_TEMPLATE_CATEGORY" val="custom"/>
  <p:tag name="KSO_WM_TEMPLATE_INDEX" val="20235136"/>
  <p:tag name="KSO_WM_UNIT_LAYERLEVEL" val="1"/>
  <p:tag name="KSO_WM_TAG_VERSION" val="3.0"/>
  <p:tag name="KSO_WM_BEAUTIFY_FLAG" val="#wm#"/>
  <p:tag name="KSO_WM_UNIT_VALUE" val="29"/>
  <p:tag name="KSO_WM_UNIT_PRESET_TEXT" val="单击此处添加标题"/>
  <p:tag name="KSO_WM_UNIT_TEXT_TYPE" val="1"/>
</p:tagLst>
</file>

<file path=ppt/tags/tag1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custom20235136_1*i*1"/>
  <p:tag name="KSO_WM_TEMPLATE_CATEGORY" val="custom"/>
  <p:tag name="KSO_WM_TEMPLATE_INDEX" val="20235136"/>
  <p:tag name="KSO_WM_UNIT_LAYERLEVEL" val="1"/>
  <p:tag name="KSO_WM_TAG_VERSION" val="3.0"/>
  <p:tag name="KSO_WM_BEAUTIFY_FLAG" val="#wm#"/>
  <p:tag name="KSO_WM_UNIT_TYPE" val="i"/>
  <p:tag name="KSO_WM_UNIT_INDEX" val="1"/>
</p:tagLst>
</file>

<file path=ppt/tags/tag13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c_a"/>
  <p:tag name="KSO_WM_UNIT_INDEX" val="1_1"/>
  <p:tag name="KSO_WM_UNIT_ID" val="custom20235136_1*c_a*1_1"/>
  <p:tag name="KSO_WM_TEMPLATE_CATEGORY" val="custom"/>
  <p:tag name="KSO_WM_TEMPLATE_INDEX" val="20235136"/>
  <p:tag name="KSO_WM_UNIT_LAYERLEVEL" val="1_1"/>
  <p:tag name="KSO_WM_TAG_VERSION" val="3.0"/>
  <p:tag name="KSO_WM_BEAUTIFY_FLAG" val="#wm#"/>
  <p:tag name="KSO_WM_UNIT_VALUE" val="76"/>
  <p:tag name="KSO_WM_UNIT_PRESET_TEXT" val="单击此处添加标题内容"/>
  <p:tag name="KSO_WM_UNIT_TEXT_TYPE" val="1"/>
</p:tagLst>
</file>

<file path=ppt/tags/tag1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custom20235136_1*i*2"/>
  <p:tag name="KSO_WM_TEMPLATE_CATEGORY" val="custom"/>
  <p:tag name="KSO_WM_TEMPLATE_INDEX" val="20235136"/>
  <p:tag name="KSO_WM_UNIT_LAYERLEVEL" val="1"/>
  <p:tag name="KSO_WM_TAG_VERSION" val="3.0"/>
  <p:tag name="KSO_WM_BEAUTIFY_FLAG" val="#wm#"/>
  <p:tag name="KSO_WM_UNIT_TYPE" val="i"/>
  <p:tag name="KSO_WM_UNIT_INDEX" val="2"/>
</p:tagLst>
</file>

<file path=ppt/tags/tag1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custom20235136_1*i*3"/>
  <p:tag name="KSO_WM_TEMPLATE_CATEGORY" val="custom"/>
  <p:tag name="KSO_WM_TEMPLATE_INDEX" val="20235136"/>
  <p:tag name="KSO_WM_UNIT_LAYERLEVEL" val="1"/>
  <p:tag name="KSO_WM_TAG_VERSION" val="3.0"/>
  <p:tag name="KSO_WM_BEAUTIFY_FLAG" val="#wm#"/>
  <p:tag name="KSO_WM_UNIT_TYPE" val="i"/>
  <p:tag name="KSO_WM_UNIT_INDEX" val="3"/>
</p:tagLst>
</file>

<file path=ppt/tags/tag1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custom20235136_1*i*4"/>
  <p:tag name="KSO_WM_TEMPLATE_CATEGORY" val="custom"/>
  <p:tag name="KSO_WM_TEMPLATE_INDEX" val="20235136"/>
  <p:tag name="KSO_WM_UNIT_LAYERLEVEL" val="1"/>
  <p:tag name="KSO_WM_TAG_VERSION" val="3.0"/>
  <p:tag name="KSO_WM_BEAUTIFY_FLAG" val="#wm#"/>
  <p:tag name="KSO_WM_UNIT_TYPE" val="i"/>
  <p:tag name="KSO_WM_UNIT_INDEX" val="4"/>
</p:tagLst>
</file>

<file path=ppt/tags/tag17.xml><?xml version="1.0" encoding="utf-8"?>
<p:tagLst xmlns:p="http://schemas.openxmlformats.org/presentationml/2006/main">
  <p:tag name="KSO_WM_UNIT_SUBTYPE" val="a"/>
  <p:tag name="KSO_WM_UNIT_TEXT_LAYER_COUNT" val="1"/>
  <p:tag name="KSO_WM_UNIT_NOCLEAR" val="0"/>
  <p:tag name="KSO_WM_UNIT_VALUE" val="344"/>
  <p:tag name="KSO_WM_UNIT_HIGHLIGHT" val="0"/>
  <p:tag name="KSO_WM_UNIT_COMPATIBLE" val="0"/>
  <p:tag name="KSO_WM_UNIT_DIAGRAM_ISNUMVISUAL" val="0"/>
  <p:tag name="KSO_WM_UNIT_DIAGRAM_ISREFERUNIT" val="0"/>
  <p:tag name="KSO_WM_UNIT_TYPE" val="c_f"/>
  <p:tag name="KSO_WM_UNIT_INDEX" val="1_1"/>
  <p:tag name="KSO_WM_UNIT_ID" val="custom20235136_1*c_f*1_1"/>
  <p:tag name="KSO_WM_TEMPLATE_CATEGORY" val="custom"/>
  <p:tag name="KSO_WM_TEMPLATE_INDEX" val="20235136"/>
  <p:tag name="KSO_WM_UNIT_LAYERLEVEL" val="1_1"/>
  <p:tag name="KSO_WM_TAG_VERSION" val="3.0"/>
  <p:tag name="KSO_WM_BEAUTIFY_FLAG" val="#wm#"/>
  <p:tag name="KSO_WM_UNIT_PRESET_TEXT" val="单击此处添加文本具体内容，简明扼要地阐述您的观点。根据需要可酌情增减文字，以便观者准确地理解您传达的思想。单击此处添加文本具体内容，简明扼要地阐述您的观点。根据需要可酌情增减文字，以便观者准确地理解您传达的思想。&#10;单击此处添加文本具体内容，简明扼要地阐述您的观点。根据需要可酌情增减文字，以便观者准确地理解您传达的思想。单击此处添加文本具体内容，简明扼要地阐述您的观点。根据需要可酌情增减文字，以便观者准确地理解您传达的思想。&#10;单击此处添加文本具体内容，简明扼要地阐述您的观点。根据需要可酌情增减文字"/>
  <p:tag name="KSO_WM_UNIT_TEXT_TYPE" val="1"/>
</p:tagLst>
</file>

<file path=ppt/tags/tag18.xml><?xml version="1.0" encoding="utf-8"?>
<p:tagLst xmlns:p="http://schemas.openxmlformats.org/presentationml/2006/main">
  <p:tag name="KSO_WM_SLIDE_ID" val="custom20235136_1"/>
  <p:tag name="KSO_WM_TEMPLATE_SUBCATEGORY" val="0"/>
  <p:tag name="KSO_WM_TEMPLATE_MASTER_TYPE" val="0"/>
  <p:tag name="KSO_WM_TEMPLATE_COLOR_TYPE" val="0"/>
  <p:tag name="KSO_WM_SLIDE_ITEM_CNT" val="0"/>
  <p:tag name="KSO_WM_SLIDE_INDEX" val="1"/>
  <p:tag name="KSO_WM_TAG_VERSION" val="3.0"/>
  <p:tag name="KSO_WM_BEAUTIFY_FLAG" val="#wm#"/>
  <p:tag name="KSO_WM_TEMPLATE_CATEGORY" val="custom"/>
  <p:tag name="KSO_WM_TEMPLATE_INDEX" val="20235136"/>
  <p:tag name="KSO_WM_SLIDE_LAYOUT" val="a_c"/>
  <p:tag name="KSO_WM_SLIDE_LAYOUT_CNT" val="1_1"/>
  <p:tag name="KSO_WM_SLIDE_TYPE" val="text"/>
  <p:tag name="KSO_WM_SLIDE_SUBTYPE" val="picTxt"/>
  <p:tag name="KSO_WM_SLIDE_SIZE" val="792.3*271.3"/>
  <p:tag name="KSO_WM_SLIDE_POSITION" val="85.8*192.25"/>
</p:tagLst>
</file>

<file path=ppt/tags/tag19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custom20235136_1*a*1"/>
  <p:tag name="KSO_WM_TEMPLATE_CATEGORY" val="custom"/>
  <p:tag name="KSO_WM_TEMPLATE_INDEX" val="20235136"/>
  <p:tag name="KSO_WM_UNIT_LAYERLEVEL" val="1"/>
  <p:tag name="KSO_WM_TAG_VERSION" val="3.0"/>
  <p:tag name="KSO_WM_BEAUTIFY_FLAG" val="#wm#"/>
  <p:tag name="KSO_WM_UNIT_VALUE" val="29"/>
  <p:tag name="KSO_WM_UNIT_PRESET_TEXT" val="单击此处添加标题"/>
  <p:tag name="KSO_WM_UNIT_TEXT_TYPE" val="1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2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custom20235136_1*i*1"/>
  <p:tag name="KSO_WM_TEMPLATE_CATEGORY" val="custom"/>
  <p:tag name="KSO_WM_TEMPLATE_INDEX" val="20235136"/>
  <p:tag name="KSO_WM_UNIT_LAYERLEVEL" val="1"/>
  <p:tag name="KSO_WM_TAG_VERSION" val="3.0"/>
  <p:tag name="KSO_WM_BEAUTIFY_FLAG" val="#wm#"/>
  <p:tag name="KSO_WM_UNIT_TYPE" val="i"/>
  <p:tag name="KSO_WM_UNIT_INDEX" val="1"/>
</p:tagLst>
</file>

<file path=ppt/tags/tag21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c_a"/>
  <p:tag name="KSO_WM_UNIT_INDEX" val="1_1"/>
  <p:tag name="KSO_WM_UNIT_ID" val="custom20235136_1*c_a*1_1"/>
  <p:tag name="KSO_WM_TEMPLATE_CATEGORY" val="custom"/>
  <p:tag name="KSO_WM_TEMPLATE_INDEX" val="20235136"/>
  <p:tag name="KSO_WM_UNIT_LAYERLEVEL" val="1_1"/>
  <p:tag name="KSO_WM_TAG_VERSION" val="3.0"/>
  <p:tag name="KSO_WM_BEAUTIFY_FLAG" val="#wm#"/>
  <p:tag name="KSO_WM_UNIT_VALUE" val="76"/>
  <p:tag name="KSO_WM_UNIT_PRESET_TEXT" val="单击此处添加标题内容"/>
  <p:tag name="KSO_WM_UNIT_TEXT_TYPE" val="1"/>
</p:tagLst>
</file>

<file path=ppt/tags/tag2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custom20235136_1*i*2"/>
  <p:tag name="KSO_WM_TEMPLATE_CATEGORY" val="custom"/>
  <p:tag name="KSO_WM_TEMPLATE_INDEX" val="20235136"/>
  <p:tag name="KSO_WM_UNIT_LAYERLEVEL" val="1"/>
  <p:tag name="KSO_WM_TAG_VERSION" val="3.0"/>
  <p:tag name="KSO_WM_BEAUTIFY_FLAG" val="#wm#"/>
  <p:tag name="KSO_WM_UNIT_TYPE" val="i"/>
  <p:tag name="KSO_WM_UNIT_INDEX" val="2"/>
</p:tagLst>
</file>

<file path=ppt/tags/tag2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custom20235136_1*i*3"/>
  <p:tag name="KSO_WM_TEMPLATE_CATEGORY" val="custom"/>
  <p:tag name="KSO_WM_TEMPLATE_INDEX" val="20235136"/>
  <p:tag name="KSO_WM_UNIT_LAYERLEVEL" val="1"/>
  <p:tag name="KSO_WM_TAG_VERSION" val="3.0"/>
  <p:tag name="KSO_WM_BEAUTIFY_FLAG" val="#wm#"/>
  <p:tag name="KSO_WM_UNIT_TYPE" val="i"/>
  <p:tag name="KSO_WM_UNIT_INDEX" val="3"/>
</p:tagLst>
</file>

<file path=ppt/tags/tag2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custom20235136_1*i*4"/>
  <p:tag name="KSO_WM_TEMPLATE_CATEGORY" val="custom"/>
  <p:tag name="KSO_WM_TEMPLATE_INDEX" val="20235136"/>
  <p:tag name="KSO_WM_UNIT_LAYERLEVEL" val="1"/>
  <p:tag name="KSO_WM_TAG_VERSION" val="3.0"/>
  <p:tag name="KSO_WM_BEAUTIFY_FLAG" val="#wm#"/>
  <p:tag name="KSO_WM_UNIT_TYPE" val="i"/>
  <p:tag name="KSO_WM_UNIT_INDEX" val="4"/>
</p:tagLst>
</file>

<file path=ppt/tags/tag25.xml><?xml version="1.0" encoding="utf-8"?>
<p:tagLst xmlns:p="http://schemas.openxmlformats.org/presentationml/2006/main">
  <p:tag name="KSO_WM_UNIT_SUBTYPE" val="a"/>
  <p:tag name="KSO_WM_UNIT_TEXT_LAYER_COUNT" val="1"/>
  <p:tag name="KSO_WM_UNIT_NOCLEAR" val="0"/>
  <p:tag name="KSO_WM_UNIT_VALUE" val="344"/>
  <p:tag name="KSO_WM_UNIT_HIGHLIGHT" val="0"/>
  <p:tag name="KSO_WM_UNIT_COMPATIBLE" val="0"/>
  <p:tag name="KSO_WM_UNIT_DIAGRAM_ISNUMVISUAL" val="0"/>
  <p:tag name="KSO_WM_UNIT_DIAGRAM_ISREFERUNIT" val="0"/>
  <p:tag name="KSO_WM_UNIT_TYPE" val="c_f"/>
  <p:tag name="KSO_WM_UNIT_INDEX" val="1_1"/>
  <p:tag name="KSO_WM_UNIT_ID" val="custom20235136_1*c_f*1_1"/>
  <p:tag name="KSO_WM_TEMPLATE_CATEGORY" val="custom"/>
  <p:tag name="KSO_WM_TEMPLATE_INDEX" val="20235136"/>
  <p:tag name="KSO_WM_UNIT_LAYERLEVEL" val="1_1"/>
  <p:tag name="KSO_WM_TAG_VERSION" val="3.0"/>
  <p:tag name="KSO_WM_BEAUTIFY_FLAG" val="#wm#"/>
  <p:tag name="KSO_WM_UNIT_PRESET_TEXT" val="单击此处添加文本具体内容，简明扼要地阐述您的观点。根据需要可酌情增减文字，以便观者准确地理解您传达的思想。单击此处添加文本具体内容，简明扼要地阐述您的观点。根据需要可酌情增减文字，以便观者准确地理解您传达的思想。&#10;单击此处添加文本具体内容，简明扼要地阐述您的观点。根据需要可酌情增减文字，以便观者准确地理解您传达的思想。单击此处添加文本具体内容，简明扼要地阐述您的观点。根据需要可酌情增减文字，以便观者准确地理解您传达的思想。&#10;单击此处添加文本具体内容，简明扼要地阐述您的观点。根据需要可酌情增减文字"/>
  <p:tag name="KSO_WM_UNIT_TEXT_TYPE" val="1"/>
</p:tagLst>
</file>

<file path=ppt/tags/tag26.xml><?xml version="1.0" encoding="utf-8"?>
<p:tagLst xmlns:p="http://schemas.openxmlformats.org/presentationml/2006/main">
  <p:tag name="KSO_WM_SLIDE_ID" val="custom20235136_1"/>
  <p:tag name="KSO_WM_TEMPLATE_SUBCATEGORY" val="0"/>
  <p:tag name="KSO_WM_TEMPLATE_MASTER_TYPE" val="0"/>
  <p:tag name="KSO_WM_TEMPLATE_COLOR_TYPE" val="0"/>
  <p:tag name="KSO_WM_SLIDE_ITEM_CNT" val="0"/>
  <p:tag name="KSO_WM_SLIDE_INDEX" val="1"/>
  <p:tag name="KSO_WM_TAG_VERSION" val="3.0"/>
  <p:tag name="KSO_WM_BEAUTIFY_FLAG" val="#wm#"/>
  <p:tag name="KSO_WM_TEMPLATE_CATEGORY" val="custom"/>
  <p:tag name="KSO_WM_TEMPLATE_INDEX" val="20235136"/>
  <p:tag name="KSO_WM_SLIDE_LAYOUT" val="a_c"/>
  <p:tag name="KSO_WM_SLIDE_LAYOUT_CNT" val="1_1"/>
  <p:tag name="KSO_WM_SLIDE_TYPE" val="text"/>
  <p:tag name="KSO_WM_SLIDE_SUBTYPE" val="picTxt"/>
  <p:tag name="KSO_WM_SLIDE_SIZE" val="792.3*271.3"/>
  <p:tag name="KSO_WM_SLIDE_POSITION" val="85.8*192.25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A6S0wzOvQ8a50SA42PUNRg"/>
</p:tagLst>
</file>

<file path=ppt/tags/tag29.xml><?xml version="1.0" encoding="utf-8"?>
<p:tagLst xmlns:p="http://schemas.openxmlformats.org/presentationml/2006/main">
  <p:tag name="resource_record_key" val="{&quot;65&quot;:[20233245],&quot;70&quot;:[3322165]}"/>
</p:tagLst>
</file>

<file path=ppt/tags/tag3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30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33167_3*a*1"/>
  <p:tag name="KSO_WM_TEMPLATE_CATEGORY" val="diagram"/>
  <p:tag name="KSO_WM_TEMPLATE_INDEX" val="20233167"/>
  <p:tag name="KSO_WM_UNIT_LAYERLEVEL" val="1"/>
  <p:tag name="KSO_WM_TAG_VERSION" val="3.0"/>
  <p:tag name="KSO_WM_BEAUTIFY_FLAG" val="#wm#"/>
  <p:tag name="KSO_WM_DIAGRAM_GROUP_CODE" val="n1-1"/>
  <p:tag name="KSO_WM_UNIT_TEXT_TYPE" val="1"/>
  <p:tag name="KSO_WM_UNIT_PRESET_TEXT" val="单击此处添加标题"/>
  <p:tag name="KSO_WM_UNIT_TEXT_FILL_FORE_SCHEMECOLOR_INDEX" val="13"/>
  <p:tag name="KSO_WM_UNIT_TEXT_FILL_TYPE" val="1"/>
  <p:tag name="KSO_WM_UNIT_USESOURCEFORMAT_APPLY" val="1"/>
</p:tagLst>
</file>

<file path=ppt/tags/tag4.xml><?xml version="1.0" encoding="utf-8"?>
<p:tagLst xmlns:p="http://schemas.openxmlformats.org/presentationml/2006/main">
  <p:tag name="KSO_WM_SLIDE_ID" val="diagram20233167_3"/>
  <p:tag name="KSO_WM_TEMPLATE_SUBCATEGORY" val="0"/>
  <p:tag name="KSO_WM_TEMPLATE_MASTER_TYPE" val="0"/>
  <p:tag name="KSO_WM_TEMPLATE_COLOR_TYPE" val="0"/>
  <p:tag name="KSO_WM_SLIDE_ITEM_CNT" val="4"/>
  <p:tag name="KSO_WM_SLIDE_INDEX" val="3"/>
  <p:tag name="KSO_WM_TAG_VERSION" val="3.0"/>
  <p:tag name="KSO_WM_BEAUTIFY_FLAG" val="#wm#"/>
  <p:tag name="KSO_WM_TEMPLATE_CATEGORY" val="diagram"/>
  <p:tag name="KSO_WM_TEMPLATE_INDEX" val="20233167"/>
  <p:tag name="KSO_WM_SLIDE_TYPE" val="text"/>
  <p:tag name="KSO_WM_SLIDE_SUBTYPE" val="diag"/>
  <p:tag name="KSO_WM_SLIDE_SIZE" val="850.35*346.45"/>
  <p:tag name="KSO_WM_SLIDE_POSITION" val="54.8*124.75"/>
  <p:tag name="KSO_WM_SLIDE_LAYOUT" val="a_n"/>
  <p:tag name="KSO_WM_SLIDE_LAYOUT_CNT" val="1_1"/>
  <p:tag name="KSO_WM_SPECIAL_SOURCE" val="bdnull"/>
  <p:tag name="KSO_WM_DIAGRAM_GROUP_CODE" val="n1-1"/>
  <p:tag name="KSO_WM_SLIDE_DIAGTYPE" val="n"/>
</p:tagLst>
</file>

<file path=ppt/tags/tag5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30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33167_3*a*1"/>
  <p:tag name="KSO_WM_TEMPLATE_CATEGORY" val="diagram"/>
  <p:tag name="KSO_WM_TEMPLATE_INDEX" val="20233167"/>
  <p:tag name="KSO_WM_UNIT_LAYERLEVEL" val="1"/>
  <p:tag name="KSO_WM_TAG_VERSION" val="3.0"/>
  <p:tag name="KSO_WM_BEAUTIFY_FLAG" val="#wm#"/>
  <p:tag name="KSO_WM_DIAGRAM_GROUP_CODE" val="n1-1"/>
  <p:tag name="KSO_WM_UNIT_TEXT_TYPE" val="1"/>
  <p:tag name="KSO_WM_UNIT_PRESET_TEXT" val="单击此处添加标题"/>
  <p:tag name="KSO_WM_UNIT_TEXT_FILL_FORE_SCHEMECOLOR_INDEX" val="13"/>
  <p:tag name="KSO_WM_UNIT_TEXT_FILL_TYPE" val="1"/>
  <p:tag name="KSO_WM_UNIT_USESOURCEFORMAT_APPLY" val="1"/>
</p:tagLst>
</file>

<file path=ppt/tags/tag6.xml><?xml version="1.0" encoding="utf-8"?>
<p:tagLst xmlns:p="http://schemas.openxmlformats.org/presentationml/2006/main">
  <p:tag name="KSO_WM_SLIDE_ID" val="diagram20233167_3"/>
  <p:tag name="KSO_WM_TEMPLATE_SUBCATEGORY" val="0"/>
  <p:tag name="KSO_WM_TEMPLATE_MASTER_TYPE" val="0"/>
  <p:tag name="KSO_WM_TEMPLATE_COLOR_TYPE" val="0"/>
  <p:tag name="KSO_WM_SLIDE_ITEM_CNT" val="4"/>
  <p:tag name="KSO_WM_SLIDE_INDEX" val="3"/>
  <p:tag name="KSO_WM_TAG_VERSION" val="3.0"/>
  <p:tag name="KSO_WM_BEAUTIFY_FLAG" val="#wm#"/>
  <p:tag name="KSO_WM_TEMPLATE_CATEGORY" val="diagram"/>
  <p:tag name="KSO_WM_TEMPLATE_INDEX" val="20233167"/>
  <p:tag name="KSO_WM_SLIDE_TYPE" val="text"/>
  <p:tag name="KSO_WM_SLIDE_SUBTYPE" val="diag"/>
  <p:tag name="KSO_WM_SLIDE_SIZE" val="850.35*346.45"/>
  <p:tag name="KSO_WM_SLIDE_POSITION" val="54.8*124.75"/>
  <p:tag name="KSO_WM_SLIDE_LAYOUT" val="a_n"/>
  <p:tag name="KSO_WM_SLIDE_LAYOUT_CNT" val="1_1"/>
  <p:tag name="KSO_WM_SPECIAL_SOURCE" val="bdnull"/>
  <p:tag name="KSO_WM_DIAGRAM_GROUP_CODE" val="n1-1"/>
  <p:tag name="KSO_WM_SLIDE_DIAGTYPE" val="n"/>
</p:tagLst>
</file>

<file path=ppt/tags/tag7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custom20235136_1*a*1"/>
  <p:tag name="KSO_WM_TEMPLATE_CATEGORY" val="custom"/>
  <p:tag name="KSO_WM_TEMPLATE_INDEX" val="20235136"/>
  <p:tag name="KSO_WM_UNIT_LAYERLEVEL" val="1"/>
  <p:tag name="KSO_WM_TAG_VERSION" val="3.0"/>
  <p:tag name="KSO_WM_BEAUTIFY_FLAG" val="#wm#"/>
  <p:tag name="KSO_WM_UNIT_VALUE" val="29"/>
  <p:tag name="KSO_WM_UNIT_PRESET_TEXT" val="单击此处添加标题"/>
  <p:tag name="KSO_WM_UNIT_TEXT_TYPE" val="1"/>
</p:tagLst>
</file>

<file path=ppt/tags/tag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custom20235136_1*i*4"/>
  <p:tag name="KSO_WM_TEMPLATE_CATEGORY" val="custom"/>
  <p:tag name="KSO_WM_TEMPLATE_INDEX" val="20235136"/>
  <p:tag name="KSO_WM_UNIT_LAYERLEVEL" val="1"/>
  <p:tag name="KSO_WM_TAG_VERSION" val="3.0"/>
  <p:tag name="KSO_WM_BEAUTIFY_FLAG" val="#wm#"/>
  <p:tag name="KSO_WM_UNIT_TYPE" val="i"/>
  <p:tag name="KSO_WM_UNIT_INDEX" val="4"/>
</p:tagLst>
</file>

<file path=ppt/tags/tag9.xml><?xml version="1.0" encoding="utf-8"?>
<p:tagLst xmlns:p="http://schemas.openxmlformats.org/presentationml/2006/main">
  <p:tag name="KSO_WM_UNIT_SUBTYPE" val="a"/>
  <p:tag name="KSO_WM_UNIT_TEXT_LAYER_COUNT" val="1"/>
  <p:tag name="KSO_WM_UNIT_NOCLEAR" val="0"/>
  <p:tag name="KSO_WM_UNIT_VALUE" val="344"/>
  <p:tag name="KSO_WM_UNIT_HIGHLIGHT" val="0"/>
  <p:tag name="KSO_WM_UNIT_COMPATIBLE" val="0"/>
  <p:tag name="KSO_WM_UNIT_DIAGRAM_ISNUMVISUAL" val="0"/>
  <p:tag name="KSO_WM_UNIT_DIAGRAM_ISREFERUNIT" val="0"/>
  <p:tag name="KSO_WM_UNIT_TYPE" val="c_f"/>
  <p:tag name="KSO_WM_UNIT_INDEX" val="1_1"/>
  <p:tag name="KSO_WM_UNIT_ID" val="custom20235136_1*c_f*1_1"/>
  <p:tag name="KSO_WM_TEMPLATE_CATEGORY" val="custom"/>
  <p:tag name="KSO_WM_TEMPLATE_INDEX" val="20235136"/>
  <p:tag name="KSO_WM_UNIT_LAYERLEVEL" val="1_1"/>
  <p:tag name="KSO_WM_TAG_VERSION" val="3.0"/>
  <p:tag name="KSO_WM_BEAUTIFY_FLAG" val="#wm#"/>
  <p:tag name="KSO_WM_UNIT_PRESET_TEXT" val="单击此处添加文本具体内容，简明扼要地阐述您的观点。根据需要可酌情增减文字，以便观者准确地理解您传达的思想。单击此处添加文本具体内容，简明扼要地阐述您的观点。根据需要可酌情增减文字，以便观者准确地理解您传达的思想。&#10;单击此处添加文本具体内容，简明扼要地阐述您的观点。根据需要可酌情增减文字，以便观者准确地理解您传达的思想。单击此处添加文本具体内容，简明扼要地阐述您的观点。根据需要可酌情增减文字，以便观者准确地理解您传达的思想。&#10;单击此处添加文本具体内容，简明扼要地阐述您的观点。根据需要可酌情增减文字"/>
  <p:tag name="KSO_WM_UNIT_TEXT_TYPE" val="1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0sgmy4m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ctr" anchorCtr="0">
        <a:normAutofit/>
      </a:bodyPr>
      <a:lstStyle>
        <a:defPPr indent="0" algn="l" fontAlgn="auto">
          <a:lnSpc>
            <a:spcPct val="150000"/>
          </a:lnSpc>
          <a:spcAft>
            <a:spcPts val="600"/>
          </a:spcAft>
          <a:defRPr lang="zh-CN" altLang="en-US" sz="3200" dirty="0">
            <a:ln>
              <a:noFill/>
              <a:prstDash val="sysDot"/>
            </a:ln>
            <a:solidFill>
              <a:schemeClr val="tx1">
                <a:lumMod val="85000"/>
                <a:lumOff val="15000"/>
              </a:schemeClr>
            </a:solidFill>
            <a:latin typeface="+mn-ea"/>
            <a:cs typeface="+mn-ea"/>
            <a:sym typeface="+mn-ea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42</Words>
  <Application>WPS 演示</Application>
  <PresentationFormat>宽屏</PresentationFormat>
  <Paragraphs>41</Paragraphs>
  <Slides>7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7</vt:i4>
      </vt:variant>
    </vt:vector>
  </HeadingPairs>
  <TitlesOfParts>
    <vt:vector size="17" baseType="lpstr">
      <vt:lpstr>Arial</vt:lpstr>
      <vt:lpstr>宋体</vt:lpstr>
      <vt:lpstr>Wingdings</vt:lpstr>
      <vt:lpstr>Impact</vt:lpstr>
      <vt:lpstr>微软雅黑</vt:lpstr>
      <vt:lpstr>Arial Unicode MS</vt:lpstr>
      <vt:lpstr>Calibri</vt:lpstr>
      <vt:lpstr>Office 主题</vt:lpstr>
      <vt:lpstr>TCLayout.ActiveDocument.1</vt:lpstr>
      <vt:lpstr>TCLayout.ActiveDocument.1</vt:lpstr>
      <vt:lpstr>PowerPoint 演示文稿</vt:lpstr>
      <vt:lpstr>备赛准备</vt:lpstr>
      <vt:lpstr>备赛准备</vt:lpstr>
      <vt:lpstr>备赛准备</vt:lpstr>
      <vt:lpstr>备赛准备</vt:lpstr>
      <vt:lpstr>备赛准备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WJTU</dc:creator>
  <cp:lastModifiedBy>聚光已经覆盖</cp:lastModifiedBy>
  <cp:revision>9</cp:revision>
  <dcterms:created xsi:type="dcterms:W3CDTF">2019-12-25T11:25:00Z</dcterms:created>
  <dcterms:modified xsi:type="dcterms:W3CDTF">2025-07-09T09:4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8EC78A21CD4F4D45AD0A4A3807AF1770_12</vt:lpwstr>
  </property>
  <property fmtid="{D5CDD505-2E9C-101B-9397-08002B2CF9AE}" pid="3" name="KSOProductBuildVer">
    <vt:lpwstr>2052-12.1.0.21915</vt:lpwstr>
  </property>
</Properties>
</file>